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wdp" ContentType="image/vnd.ms-photo"/>
  <Default Extension="xls" ContentType="application/vnd.ms-excel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embeddings/oleObject1.bin" ContentType="application/vnd.openxmlformats-officedocument.oleObject"/>
  <Override PartName="/ppt/tags/tag3.xml" ContentType="application/vnd.openxmlformats-officedocument.presentationml.tags+xml"/>
  <Override PartName="/ppt/embeddings/oleObject2.bin" ContentType="application/vnd.openxmlformats-officedocument.oleObject"/>
  <Override PartName="/ppt/tags/tag4.xml" ContentType="application/vnd.openxmlformats-officedocument.presentationml.tags+xml"/>
  <Override PartName="/ppt/embeddings/oleObject3.bin" ContentType="application/vnd.openxmlformats-officedocument.oleObject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embeddings/oleObject4.bin" ContentType="application/vnd.openxmlformats-officedocument.oleObject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embeddings/oleObject5.bin" ContentType="application/vnd.openxmlformats-officedocument.oleObject"/>
  <Override PartName="/ppt/tags/tag14.xml" ContentType="application/vnd.openxmlformats-officedocument.presentationml.tags+xml"/>
  <Override PartName="/ppt/embeddings/oleObject6.bin" ContentType="application/vnd.openxmlformats-officedocument.oleObject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3.xml" ContentType="application/vnd.openxmlformats-officedocument.theme+xml"/>
  <Override PartName="/ppt/tags/tag15.xml" ContentType="application/vnd.openxmlformats-officedocument.presentationml.tags+xml"/>
  <Override PartName="/ppt/embeddings/oleObject7.bin" ContentType="application/vnd.openxmlformats-officedocument.oleObject"/>
  <Override PartName="/ppt/tags/tag16.xml" ContentType="application/vnd.openxmlformats-officedocument.presentationml.tags+xml"/>
  <Override PartName="/ppt/embeddings/oleObject8.bin" ContentType="application/vnd.openxmlformats-officedocument.oleObject"/>
  <Override PartName="/ppt/slideLayouts/slideLayout11.xml" ContentType="application/vnd.openxmlformats-officedocument.presentationml.slideLayout+xml"/>
  <Override PartName="/ppt/theme/theme4.xml" ContentType="application/vnd.openxmlformats-officedocument.theme+xml"/>
  <Override PartName="/ppt/tags/tag17.xml" ContentType="application/vnd.openxmlformats-officedocument.presentationml.tags+xml"/>
  <Override PartName="/ppt/embeddings/oleObject9.bin" ContentType="application/vnd.openxmlformats-officedocument.oleObject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theme/theme5.xml" ContentType="application/vnd.openxmlformats-officedocument.theme+xml"/>
  <Override PartName="/ppt/tags/tag18.xml" ContentType="application/vnd.openxmlformats-officedocument.presentationml.tags+xml"/>
  <Override PartName="/ppt/embeddings/oleObject10.bin" ContentType="application/vnd.openxmlformats-officedocument.oleObject"/>
  <Override PartName="/ppt/tags/tag19.xml" ContentType="application/vnd.openxmlformats-officedocument.presentationml.tags+xml"/>
  <Override PartName="/ppt/embeddings/oleObject11.bin" ContentType="application/vnd.openxmlformats-officedocument.oleObject"/>
  <Override PartName="/ppt/tags/tag20.xml" ContentType="application/vnd.openxmlformats-officedocument.presentationml.tags+xml"/>
  <Override PartName="/ppt/embeddings/oleObject12.bin" ContentType="application/vnd.openxmlformats-officedocument.oleObject"/>
  <Override PartName="/ppt/tags/tag21.xml" ContentType="application/vnd.openxmlformats-officedocument.presentationml.tags+xml"/>
  <Override PartName="/ppt/embeddings/oleObject13.bin" ContentType="application/vnd.openxmlformats-officedocument.oleObject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embeddings/oleObject14.bin" ContentType="application/vnd.openxmlformats-officedocument.oleObject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embeddings/oleObject15.bin" ContentType="application/vnd.openxmlformats-officedocument.oleObject"/>
  <Override PartName="/ppt/tags/tag31.xml" ContentType="application/vnd.openxmlformats-officedocument.presentationml.tags+xml"/>
  <Override PartName="/ppt/embeddings/oleObject16.bin" ContentType="application/vnd.openxmlformats-officedocument.oleObject"/>
  <Override PartName="/ppt/tags/tag32.xml" ContentType="application/vnd.openxmlformats-officedocument.presentationml.tags+xml"/>
  <Override PartName="/ppt/embeddings/oleObject17.bin" ContentType="application/vnd.openxmlformats-officedocument.oleObject"/>
  <Override PartName="/ppt/tags/tag33.xml" ContentType="application/vnd.openxmlformats-officedocument.presentationml.tags+xml"/>
  <Override PartName="/ppt/embeddings/oleObject18.bin" ContentType="application/vnd.openxmlformats-officedocument.oleObject"/>
  <Override PartName="/ppt/tags/tag34.xml" ContentType="application/vnd.openxmlformats-officedocument.presentationml.tags+xml"/>
  <Override PartName="/ppt/embeddings/oleObject19.bin" ContentType="application/vnd.openxmlformats-officedocument.oleObject"/>
  <Override PartName="/ppt/tags/tag35.xml" ContentType="application/vnd.openxmlformats-officedocument.presentationml.tags+xml"/>
  <Override PartName="/ppt/embeddings/oleObject20.bin" ContentType="application/vnd.openxmlformats-officedocument.oleObject"/>
  <Override PartName="/ppt/tags/tag36.xml" ContentType="application/vnd.openxmlformats-officedocument.presentationml.tags+xml"/>
  <Override PartName="/ppt/embeddings/oleObject21.bin" ContentType="application/vnd.openxmlformats-officedocument.oleObject"/>
  <Override PartName="/ppt/tags/tag37.xml" ContentType="application/vnd.openxmlformats-officedocument.presentationml.tags+xml"/>
  <Override PartName="/ppt/embeddings/oleObject22.bin" ContentType="application/vnd.openxmlformats-officedocument.oleObject"/>
  <Override PartName="/ppt/tags/tag38.xml" ContentType="application/vnd.openxmlformats-officedocument.presentationml.tags+xml"/>
  <Override PartName="/ppt/embeddings/oleObject23.bin" ContentType="application/vnd.openxmlformats-officedocument.oleObject"/>
  <Override PartName="/ppt/tags/tag39.xml" ContentType="application/vnd.openxmlformats-officedocument.presentationml.tags+xml"/>
  <Override PartName="/ppt/embeddings/oleObject24.bin" ContentType="application/vnd.openxmlformats-officedocument.oleObject"/>
  <Override PartName="/ppt/tags/tag40.xml" ContentType="application/vnd.openxmlformats-officedocument.presentationml.tags+xml"/>
  <Override PartName="/ppt/embeddings/oleObject25.bin" ContentType="application/vnd.openxmlformats-officedocument.oleObject"/>
  <Override PartName="/ppt/tags/tag41.xml" ContentType="application/vnd.openxmlformats-officedocument.presentationml.tags+xml"/>
  <Override PartName="/ppt/embeddings/oleObject26.bin" ContentType="application/vnd.openxmlformats-officedocument.oleObject"/>
  <Override PartName="/ppt/tags/tag42.xml" ContentType="application/vnd.openxmlformats-officedocument.presentationml.tags+xml"/>
  <Override PartName="/ppt/embeddings/oleObject27.bin" ContentType="application/vnd.openxmlformats-officedocument.oleObject"/>
  <Override PartName="/ppt/tags/tag43.xml" ContentType="application/vnd.openxmlformats-officedocument.presentationml.tags+xml"/>
  <Override PartName="/ppt/embeddings/oleObject28.bin" ContentType="application/vnd.openxmlformats-officedocument.oleObject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theme/theme6.xml" ContentType="application/vnd.openxmlformats-officedocument.theme+xml"/>
  <Override PartName="/ppt/tags/tag44.xml" ContentType="application/vnd.openxmlformats-officedocument.presentationml.tags+xml"/>
  <Override PartName="/ppt/embeddings/oleObject29.bin" ContentType="application/vnd.openxmlformats-officedocument.oleObject"/>
  <Override PartName="/ppt/tags/tag45.xml" ContentType="application/vnd.openxmlformats-officedocument.presentationml.tags+xml"/>
  <Override PartName="/ppt/embeddings/oleObject30.bin" ContentType="application/vnd.openxmlformats-officedocument.oleObject"/>
  <Override PartName="/ppt/tags/tag46.xml" ContentType="application/vnd.openxmlformats-officedocument.presentationml.tags+xml"/>
  <Override PartName="/ppt/embeddings/oleObject31.bin" ContentType="application/vnd.openxmlformats-officedocument.oleObject"/>
  <Override PartName="/ppt/tags/tag47.xml" ContentType="application/vnd.openxmlformats-officedocument.presentationml.tags+xml"/>
  <Override PartName="/ppt/embeddings/oleObject32.bin" ContentType="application/vnd.openxmlformats-officedocument.oleObject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embeddings/oleObject33.bin" ContentType="application/vnd.openxmlformats-officedocument.oleObject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embeddings/oleObject34.bin" ContentType="application/vnd.openxmlformats-officedocument.oleObject"/>
  <Override PartName="/ppt/tags/tag57.xml" ContentType="application/vnd.openxmlformats-officedocument.presentationml.tags+xml"/>
  <Override PartName="/ppt/embeddings/oleObject35.bin" ContentType="application/vnd.openxmlformats-officedocument.oleObject"/>
  <Override PartName="/ppt/tags/tag58.xml" ContentType="application/vnd.openxmlformats-officedocument.presentationml.tags+xml"/>
  <Override PartName="/ppt/embeddings/oleObject36.bin" ContentType="application/vnd.openxmlformats-officedocument.oleObject"/>
  <Override PartName="/ppt/tags/tag59.xml" ContentType="application/vnd.openxmlformats-officedocument.presentationml.tags+xml"/>
  <Override PartName="/ppt/embeddings/oleObject37.bin" ContentType="application/vnd.openxmlformats-officedocument.oleObject"/>
  <Override PartName="/ppt/tags/tag60.xml" ContentType="application/vnd.openxmlformats-officedocument.presentationml.tags+xml"/>
  <Override PartName="/ppt/embeddings/oleObject38.bin" ContentType="application/vnd.openxmlformats-officedocument.oleObject"/>
  <Override PartName="/ppt/tags/tag61.xml" ContentType="application/vnd.openxmlformats-officedocument.presentationml.tags+xml"/>
  <Override PartName="/ppt/embeddings/oleObject39.bin" ContentType="application/vnd.openxmlformats-officedocument.oleObject"/>
  <Override PartName="/ppt/tags/tag62.xml" ContentType="application/vnd.openxmlformats-officedocument.presentationml.tags+xml"/>
  <Override PartName="/ppt/embeddings/oleObject40.bin" ContentType="application/vnd.openxmlformats-officedocument.oleObject"/>
  <Override PartName="/ppt/tags/tag63.xml" ContentType="application/vnd.openxmlformats-officedocument.presentationml.tags+xml"/>
  <Override PartName="/ppt/embeddings/oleObject41.bin" ContentType="application/vnd.openxmlformats-officedocument.oleObject"/>
  <Override PartName="/ppt/tags/tag64.xml" ContentType="application/vnd.openxmlformats-officedocument.presentationml.tags+xml"/>
  <Override PartName="/ppt/embeddings/oleObject42.bin" ContentType="application/vnd.openxmlformats-officedocument.oleObject"/>
  <Override PartName="/ppt/tags/tag65.xml" ContentType="application/vnd.openxmlformats-officedocument.presentationml.tags+xml"/>
  <Override PartName="/ppt/embeddings/oleObject43.bin" ContentType="application/vnd.openxmlformats-officedocument.oleObject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theme/theme7.xml" ContentType="application/vnd.openxmlformats-officedocument.theme+xml"/>
  <Override PartName="/ppt/tags/tag66.xml" ContentType="application/vnd.openxmlformats-officedocument.presentationml.tags+xml"/>
  <Override PartName="/ppt/embeddings/oleObject44.bin" ContentType="application/vnd.openxmlformats-officedocument.oleObject"/>
  <Override PartName="/ppt/tags/tag67.xml" ContentType="application/vnd.openxmlformats-officedocument.presentationml.tags+xml"/>
  <Override PartName="/ppt/embeddings/oleObject45.bin" ContentType="application/vnd.openxmlformats-officedocument.oleObject"/>
  <Override PartName="/ppt/tags/tag68.xml" ContentType="application/vnd.openxmlformats-officedocument.presentationml.tags+xml"/>
  <Override PartName="/ppt/embeddings/oleObject46.bin" ContentType="application/vnd.openxmlformats-officedocument.oleObject"/>
  <Override PartName="/ppt/tags/tag69.xml" ContentType="application/vnd.openxmlformats-officedocument.presentationml.tags+xml"/>
  <Override PartName="/ppt/embeddings/oleObject47.bin" ContentType="application/vnd.openxmlformats-officedocument.oleObject"/>
  <Override PartName="/ppt/slideLayouts/slideLayout50.xml" ContentType="application/vnd.openxmlformats-officedocument.presentationml.slideLayout+xml"/>
  <Override PartName="/ppt/theme/theme8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9.xml" ContentType="application/vnd.openxmlformats-officedocument.theme+xml"/>
  <Override PartName="/ppt/tags/tag72.xml" ContentType="application/vnd.openxmlformats-officedocument.presentationml.tags+xml"/>
  <Override PartName="/ppt/embeddings/oleObject48.bin" ContentType="application/vnd.openxmlformats-officedocument.oleObject"/>
  <Override PartName="/ppt/tags/tag73.xml" ContentType="application/vnd.openxmlformats-officedocument.presentationml.tags+xml"/>
  <Override PartName="/ppt/embeddings/oleObject49.bin" ContentType="application/vnd.openxmlformats-officedocument.oleObject"/>
  <Override PartName="/ppt/tags/tag74.xml" ContentType="application/vnd.openxmlformats-officedocument.presentationml.tags+xml"/>
  <Override PartName="/ppt/embeddings/oleObject50.bin" ContentType="application/vnd.openxmlformats-officedocument.oleObject"/>
  <Override PartName="/ppt/tags/tag75.xml" ContentType="application/vnd.openxmlformats-officedocument.presentationml.tags+xml"/>
  <Override PartName="/ppt/embeddings/oleObject51.bin" ContentType="application/vnd.openxmlformats-officedocument.oleObject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embeddings/oleObject52.bin" ContentType="application/vnd.openxmlformats-officedocument.oleObject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embeddings/oleObject53.bin" ContentType="application/vnd.openxmlformats-officedocument.oleObject"/>
  <Override PartName="/ppt/tags/tag85.xml" ContentType="application/vnd.openxmlformats-officedocument.presentationml.tags+xml"/>
  <Override PartName="/ppt/embeddings/oleObject54.bin" ContentType="application/vnd.openxmlformats-officedocument.oleObject"/>
  <Override PartName="/ppt/tags/tag86.xml" ContentType="application/vnd.openxmlformats-officedocument.presentationml.tags+xml"/>
  <Override PartName="/ppt/embeddings/oleObject55.bin" ContentType="application/vnd.openxmlformats-officedocument.oleObject"/>
  <Override PartName="/ppt/tags/tag87.xml" ContentType="application/vnd.openxmlformats-officedocument.presentationml.tags+xml"/>
  <Override PartName="/ppt/embeddings/oleObject56.bin" ContentType="application/vnd.openxmlformats-officedocument.oleObject"/>
  <Override PartName="/ppt/tags/tag88.xml" ContentType="application/vnd.openxmlformats-officedocument.presentationml.tags+xml"/>
  <Override PartName="/ppt/embeddings/oleObject57.bin" ContentType="application/vnd.openxmlformats-officedocument.oleObject"/>
  <Override PartName="/ppt/tags/tag89.xml" ContentType="application/vnd.openxmlformats-officedocument.presentationml.tags+xml"/>
  <Override PartName="/ppt/embeddings/oleObject58.bin" ContentType="application/vnd.openxmlformats-officedocument.oleObject"/>
  <Override PartName="/ppt/tags/tag90.xml" ContentType="application/vnd.openxmlformats-officedocument.presentationml.tags+xml"/>
  <Override PartName="/ppt/embeddings/oleObject59.bin" ContentType="application/vnd.openxmlformats-officedocument.oleObject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10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embeddings/oleObject60.bin" ContentType="application/vnd.openxmlformats-officedocument.oleObject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theme/theme12.xml" ContentType="application/vnd.openxmlformats-officedocument.theme+xml"/>
  <Override PartName="/ppt/tags/tag96.xml" ContentType="application/vnd.openxmlformats-officedocument.presentationml.tags+xml"/>
  <Override PartName="/ppt/embeddings/oleObject61.bin" ContentType="application/vnd.openxmlformats-officedocument.oleObject"/>
  <Override PartName="/ppt/tags/tag97.xml" ContentType="application/vnd.openxmlformats-officedocument.presentationml.tags+xml"/>
  <Override PartName="/ppt/embeddings/oleObject62.bin" ContentType="application/vnd.openxmlformats-officedocument.oleObject"/>
  <Override PartName="/ppt/tags/tag98.xml" ContentType="application/vnd.openxmlformats-officedocument.presentationml.tags+xml"/>
  <Override PartName="/ppt/embeddings/oleObject63.bin" ContentType="application/vnd.openxmlformats-officedocument.oleObject"/>
  <Override PartName="/ppt/tags/tag99.xml" ContentType="application/vnd.openxmlformats-officedocument.presentationml.tags+xml"/>
  <Override PartName="/ppt/embeddings/oleObject64.bin" ContentType="application/vnd.openxmlformats-officedocument.oleObject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embeddings/oleObject65.bin" ContentType="application/vnd.openxmlformats-officedocument.oleObject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embeddings/oleObject66.bin" ContentType="application/vnd.openxmlformats-officedocument.oleObject"/>
  <Override PartName="/ppt/tags/tag106.xml" ContentType="application/vnd.openxmlformats-officedocument.presentationml.tags+xml"/>
  <Override PartName="/ppt/embeddings/oleObject67.bin" ContentType="application/vnd.openxmlformats-officedocument.oleObject"/>
  <Override PartName="/ppt/tags/tag107.xml" ContentType="application/vnd.openxmlformats-officedocument.presentationml.tags+xml"/>
  <Override PartName="/ppt/embeddings/oleObject68.bin" ContentType="application/vnd.openxmlformats-officedocument.oleObject"/>
  <Override PartName="/ppt/tags/tag108.xml" ContentType="application/vnd.openxmlformats-officedocument.presentationml.tags+xml"/>
  <Override PartName="/ppt/embeddings/oleObject69.bin" ContentType="application/vnd.openxmlformats-officedocument.oleObject"/>
  <Override PartName="/ppt/tags/tag109.xml" ContentType="application/vnd.openxmlformats-officedocument.presentationml.tags+xml"/>
  <Override PartName="/ppt/embeddings/oleObject70.bin" ContentType="application/vnd.openxmlformats-officedocument.oleObject"/>
  <Override PartName="/ppt/tags/tag110.xml" ContentType="application/vnd.openxmlformats-officedocument.presentationml.tags+xml"/>
  <Override PartName="/ppt/embeddings/oleObject71.bin" ContentType="application/vnd.openxmlformats-officedocument.oleObject"/>
  <Override PartName="/ppt/slideLayouts/slideLayout77.xml" ContentType="application/vnd.openxmlformats-officedocument.presentationml.slideLayout+xml"/>
  <Override PartName="/ppt/theme/theme13.xml" ContentType="application/vnd.openxmlformats-officedocument.theme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4.xml" ContentType="application/vnd.openxmlformats-officedocument.theme+xml"/>
  <Override PartName="/ppt/tags/tag111.xml" ContentType="application/vnd.openxmlformats-officedocument.presentationml.tags+xml"/>
  <Override PartName="/ppt/embeddings/oleObject72.bin" ContentType="application/vnd.openxmlformats-officedocument.oleObject"/>
  <Override PartName="/ppt/tags/tag112.xml" ContentType="application/vnd.openxmlformats-officedocument.presentationml.tags+xml"/>
  <Override PartName="/ppt/embeddings/oleObject73.bin" ContentType="application/vnd.openxmlformats-officedocument.oleObject"/>
  <Override PartName="/ppt/tags/tag113.xml" ContentType="application/vnd.openxmlformats-officedocument.presentationml.tags+xml"/>
  <Override PartName="/ppt/embeddings/oleObject74.bin" ContentType="application/vnd.openxmlformats-officedocument.oleObject"/>
  <Override PartName="/ppt/tags/tag114.xml" ContentType="application/vnd.openxmlformats-officedocument.presentationml.tags+xml"/>
  <Override PartName="/ppt/embeddings/oleObject75.bin" ContentType="application/vnd.openxmlformats-officedocument.oleObject"/>
  <Override PartName="/ppt/theme/theme15.xml" ContentType="application/vnd.openxmlformats-officedocument.theme+xml"/>
  <Override PartName="/ppt/theme/theme16.xml" ContentType="application/vnd.openxmlformats-officedocument.theme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4" Type="http://schemas.openxmlformats.org/officeDocument/2006/relationships/custom-properties" Target="docProps/custom.xml"/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94215" r:id="rId1"/>
    <p:sldMasterId id="2147495301" r:id="rId2"/>
    <p:sldMasterId id="2147495310" r:id="rId3"/>
    <p:sldMasterId id="2147495312" r:id="rId4"/>
    <p:sldMasterId id="2147495403" r:id="rId5"/>
    <p:sldMasterId id="2147495430" r:id="rId6"/>
    <p:sldMasterId id="2147495452" r:id="rId7"/>
    <p:sldMasterId id="2147495457" r:id="rId8"/>
    <p:sldMasterId id="2147495460" r:id="rId9"/>
    <p:sldMasterId id="2147495474" r:id="rId10"/>
    <p:sldMasterId id="2147495477" r:id="rId11"/>
    <p:sldMasterId id="2147495480" r:id="rId12"/>
    <p:sldMasterId id="2147495495" r:id="rId13"/>
    <p:sldMasterId id="2147495497" r:id="rId14"/>
  </p:sldMasterIdLst>
  <p:notesMasterIdLst>
    <p:notesMasterId r:id="rId31"/>
  </p:notesMasterIdLst>
  <p:handoutMasterIdLst>
    <p:handoutMasterId r:id="rId32"/>
  </p:handoutMasterIdLst>
  <p:sldIdLst>
    <p:sldId id="398" r:id="rId15"/>
    <p:sldId id="669" r:id="rId16"/>
    <p:sldId id="456" r:id="rId17"/>
    <p:sldId id="680" r:id="rId18"/>
    <p:sldId id="684" r:id="rId19"/>
    <p:sldId id="685" r:id="rId20"/>
    <p:sldId id="686" r:id="rId21"/>
    <p:sldId id="706" r:id="rId22"/>
    <p:sldId id="707" r:id="rId23"/>
    <p:sldId id="708" r:id="rId24"/>
    <p:sldId id="709" r:id="rId25"/>
    <p:sldId id="672" r:id="rId26"/>
    <p:sldId id="481" r:id="rId27"/>
    <p:sldId id="690" r:id="rId28"/>
    <p:sldId id="688" r:id="rId29"/>
    <p:sldId id="678" r:id="rId30"/>
  </p:sldIdLst>
  <p:sldSz cx="7559675" cy="5327650"/>
  <p:notesSz cx="9926638" cy="6797675"/>
  <p:custDataLst>
    <p:tags r:id="rId34"/>
  </p:custDataLst>
  <p:defaultTextStyle>
    <a:defPPr>
      <a:defRPr lang="en-US"/>
    </a:defPPr>
    <a:lvl1pPr algn="l" defTabSz="3667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1pPr>
    <a:lvl2pPr marL="366713" indent="90488" algn="l" defTabSz="3667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2pPr>
    <a:lvl3pPr marL="733425" indent="180975" algn="l" defTabSz="3667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3pPr>
    <a:lvl4pPr marL="1101725" indent="269875" algn="l" defTabSz="3667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4pPr>
    <a:lvl5pPr marL="1468438" indent="360363" algn="l" defTabSz="366713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Times New Roman" panose="02020603050405020304" pitchFamily="18" charset="0"/>
        <a:ea typeface="ＭＳ Ｐゴシック" panose="020B0600070205080204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58">
          <p15:clr>
            <a:srgbClr val="A4A3A4"/>
          </p15:clr>
        </p15:guide>
        <p15:guide id="2" orient="horz" pos="212">
          <p15:clr>
            <a:srgbClr val="A4A3A4"/>
          </p15:clr>
        </p15:guide>
        <p15:guide id="3" orient="horz" pos="468">
          <p15:clr>
            <a:srgbClr val="A4A3A4"/>
          </p15:clr>
        </p15:guide>
        <p15:guide id="4" pos="4626">
          <p15:clr>
            <a:srgbClr val="A4A3A4"/>
          </p15:clr>
        </p15:guide>
        <p15:guide id="5" pos="135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14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zilińska-Pietrzak Olga" initials="DO" lastIdx="20" clrIdx="0">
    <p:extLst>
      <p:ext uri="{19B8F6BF-5375-455C-9EA6-DF929625EA0E}">
        <p15:presenceInfo xmlns:p15="http://schemas.microsoft.com/office/powerpoint/2012/main" xmlns="" userId="S-1-5-21-4166670209-1763427231-2426637659-4457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18927"/>
    <a:srgbClr val="3AAA35"/>
    <a:srgbClr val="68B133"/>
    <a:srgbClr val="86BC43"/>
    <a:srgbClr val="D9D9D9"/>
    <a:srgbClr val="E5ADB6"/>
    <a:srgbClr val="646567"/>
    <a:srgbClr val="86BC25"/>
    <a:srgbClr val="A6A6A6"/>
    <a:srgbClr val="BDD6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8EC20E35-A176-4012-BC5E-935CFFF8708E}" styleName="Medium Style 3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7DF18680-E054-41AD-8BC1-D1AEF772440D}" styleName="Styl pośredni 2 — Ak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B301B821-A1FF-4177-AEE7-76D212191A09}" styleName="Styl pośredni 1 — Ak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69012ECD-51FC-41F1-AA8D-1B2483CD663E}" styleName="Styl jasny 2 — Ak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21E4AEA4-8DFA-4A89-87EB-49C32662AFE0}" styleName="Styl pośredni 2 — Ak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Styl pośredni 2 — Ak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Styl jasny 2 — Ak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17292A2E-F333-43FB-9621-5CBBE7FDCDCB}" styleName="Styl jasny 2 — Ak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72833802-FEF1-4C79-8D5D-14CF1EAF98D9}" styleName="Styl jasny 2 — Ak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8025" autoAdjust="0"/>
    <p:restoredTop sz="94133" autoAdjust="0"/>
  </p:normalViewPr>
  <p:slideViewPr>
    <p:cSldViewPr snapToGrid="0" snapToObjects="1">
      <p:cViewPr varScale="1">
        <p:scale>
          <a:sx n="146" d="100"/>
          <a:sy n="146" d="100"/>
        </p:scale>
        <p:origin x="-112" y="-208"/>
      </p:cViewPr>
      <p:guideLst>
        <p:guide orient="horz" pos="358"/>
        <p:guide orient="horz" pos="212"/>
        <p:guide orient="horz" pos="468"/>
        <p:guide pos="4626"/>
        <p:guide pos="135"/>
      </p:guideLst>
    </p:cSldViewPr>
  </p:slideViewPr>
  <p:outlineViewPr>
    <p:cViewPr>
      <p:scale>
        <a:sx n="33" d="100"/>
        <a:sy n="33" d="100"/>
      </p:scale>
      <p:origin x="0" y="-768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20" d="100"/>
        <a:sy n="120" d="100"/>
      </p:scale>
      <p:origin x="0" y="-6548"/>
    </p:cViewPr>
  </p:sorterViewPr>
  <p:notesViewPr>
    <p:cSldViewPr snapToGrid="0" snapToObjects="1">
      <p:cViewPr varScale="1">
        <p:scale>
          <a:sx n="137" d="100"/>
          <a:sy n="137" d="100"/>
        </p:scale>
        <p:origin x="-6704" y="-104"/>
      </p:cViewPr>
      <p:guideLst>
        <p:guide orient="horz" pos="2141"/>
        <p:guide pos="3127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0" Type="http://schemas.openxmlformats.org/officeDocument/2006/relationships/slide" Target="slides/slide6.xml"/><Relationship Id="rId21" Type="http://schemas.openxmlformats.org/officeDocument/2006/relationships/slide" Target="slides/slide7.xml"/><Relationship Id="rId22" Type="http://schemas.openxmlformats.org/officeDocument/2006/relationships/slide" Target="slides/slide8.xml"/><Relationship Id="rId23" Type="http://schemas.openxmlformats.org/officeDocument/2006/relationships/slide" Target="slides/slide9.xml"/><Relationship Id="rId24" Type="http://schemas.openxmlformats.org/officeDocument/2006/relationships/slide" Target="slides/slide10.xml"/><Relationship Id="rId25" Type="http://schemas.openxmlformats.org/officeDocument/2006/relationships/slide" Target="slides/slide11.xml"/><Relationship Id="rId26" Type="http://schemas.openxmlformats.org/officeDocument/2006/relationships/slide" Target="slides/slide12.xml"/><Relationship Id="rId27" Type="http://schemas.openxmlformats.org/officeDocument/2006/relationships/slide" Target="slides/slide13.xml"/><Relationship Id="rId28" Type="http://schemas.openxmlformats.org/officeDocument/2006/relationships/slide" Target="slides/slide14.xml"/><Relationship Id="rId29" Type="http://schemas.openxmlformats.org/officeDocument/2006/relationships/slide" Target="slides/slide15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Master" Target="slideMasters/slideMaster3.xml"/><Relationship Id="rId4" Type="http://schemas.openxmlformats.org/officeDocument/2006/relationships/slideMaster" Target="slideMasters/slideMaster4.xml"/><Relationship Id="rId5" Type="http://schemas.openxmlformats.org/officeDocument/2006/relationships/slideMaster" Target="slideMasters/slideMaster5.xml"/><Relationship Id="rId30" Type="http://schemas.openxmlformats.org/officeDocument/2006/relationships/slide" Target="slides/slide16.xml"/><Relationship Id="rId31" Type="http://schemas.openxmlformats.org/officeDocument/2006/relationships/notesMaster" Target="notesMasters/notesMaster1.xml"/><Relationship Id="rId32" Type="http://schemas.openxmlformats.org/officeDocument/2006/relationships/handoutMaster" Target="handoutMasters/handoutMaster1.xml"/><Relationship Id="rId9" Type="http://schemas.openxmlformats.org/officeDocument/2006/relationships/slideMaster" Target="slideMasters/slideMaster9.xml"/><Relationship Id="rId6" Type="http://schemas.openxmlformats.org/officeDocument/2006/relationships/slideMaster" Target="slideMasters/slideMaster6.xml"/><Relationship Id="rId7" Type="http://schemas.openxmlformats.org/officeDocument/2006/relationships/slideMaster" Target="slideMasters/slideMaster7.xml"/><Relationship Id="rId8" Type="http://schemas.openxmlformats.org/officeDocument/2006/relationships/slideMaster" Target="slideMasters/slideMaster8.xml"/><Relationship Id="rId33" Type="http://schemas.openxmlformats.org/officeDocument/2006/relationships/printerSettings" Target="printerSettings/printerSettings1.bin"/><Relationship Id="rId34" Type="http://schemas.openxmlformats.org/officeDocument/2006/relationships/tags" Target="tags/tag1.xml"/><Relationship Id="rId35" Type="http://schemas.openxmlformats.org/officeDocument/2006/relationships/commentAuthors" Target="commentAuthors.xml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10.xml"/><Relationship Id="rId11" Type="http://schemas.openxmlformats.org/officeDocument/2006/relationships/slideMaster" Target="slideMasters/slideMaster11.xml"/><Relationship Id="rId12" Type="http://schemas.openxmlformats.org/officeDocument/2006/relationships/slideMaster" Target="slideMasters/slideMaster12.xml"/><Relationship Id="rId13" Type="http://schemas.openxmlformats.org/officeDocument/2006/relationships/slideMaster" Target="slideMasters/slideMaster13.xml"/><Relationship Id="rId14" Type="http://schemas.openxmlformats.org/officeDocument/2006/relationships/slideMaster" Target="slideMasters/slideMaster14.xml"/><Relationship Id="rId15" Type="http://schemas.openxmlformats.org/officeDocument/2006/relationships/slide" Target="slides/slide1.xml"/><Relationship Id="rId16" Type="http://schemas.openxmlformats.org/officeDocument/2006/relationships/slide" Target="slides/slide2.xml"/><Relationship Id="rId17" Type="http://schemas.openxmlformats.org/officeDocument/2006/relationships/slide" Target="slides/slide3.xml"/><Relationship Id="rId18" Type="http://schemas.openxmlformats.org/officeDocument/2006/relationships/slide" Target="slides/slide4.xml"/><Relationship Id="rId19" Type="http://schemas.openxmlformats.org/officeDocument/2006/relationships/slide" Target="slides/slide5.xml"/><Relationship Id="rId37" Type="http://schemas.openxmlformats.org/officeDocument/2006/relationships/viewProps" Target="viewProps.xml"/><Relationship Id="rId38" Type="http://schemas.openxmlformats.org/officeDocument/2006/relationships/theme" Target="theme/theme1.xml"/><Relationship Id="rId39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AAC0E7B-93A4-461F-AA00-7A3348566A53}" type="doc">
      <dgm:prSet loTypeId="urn:microsoft.com/office/officeart/2008/layout/HorizontalMultiLevelHierarchy" loCatId="hierarchy" qsTypeId="urn:microsoft.com/office/officeart/2005/8/quickstyle/simple3" qsCatId="simple" csTypeId="urn:microsoft.com/office/officeart/2005/8/colors/accent0_3" csCatId="mainScheme" phldr="1"/>
      <dgm:spPr/>
      <dgm:t>
        <a:bodyPr/>
        <a:lstStyle/>
        <a:p>
          <a:endParaRPr lang="pl-PL"/>
        </a:p>
      </dgm:t>
    </dgm:pt>
    <dgm:pt modelId="{4145EF1C-B646-4F2C-9A5F-A47EF6BC87F5}">
      <dgm:prSet phldrT="[Tekst]" custT="1"/>
      <dgm:spPr>
        <a:solidFill>
          <a:srgbClr val="646567"/>
        </a:solidFill>
      </dgm:spPr>
      <dgm:t>
        <a:bodyPr/>
        <a:lstStyle/>
        <a:p>
          <a:endParaRPr lang="pl-PL" sz="1600" dirty="0"/>
        </a:p>
      </dgm:t>
    </dgm:pt>
    <dgm:pt modelId="{EEF8A0D0-A8E9-4051-9D33-26A75D7F6D6E}" type="parTrans" cxnId="{2288736D-4B08-495A-BF37-1571147B7BDE}">
      <dgm:prSet/>
      <dgm:spPr/>
      <dgm:t>
        <a:bodyPr/>
        <a:lstStyle/>
        <a:p>
          <a:endParaRPr lang="pl-PL"/>
        </a:p>
      </dgm:t>
    </dgm:pt>
    <dgm:pt modelId="{DDFCBE4C-FD13-4309-94AF-D2E142984486}" type="sibTrans" cxnId="{2288736D-4B08-495A-BF37-1571147B7BDE}">
      <dgm:prSet/>
      <dgm:spPr/>
      <dgm:t>
        <a:bodyPr/>
        <a:lstStyle/>
        <a:p>
          <a:endParaRPr lang="pl-PL"/>
        </a:p>
      </dgm:t>
    </dgm:pt>
    <dgm:pt modelId="{D2D18540-CBF5-42DA-9A68-5508C1BA8299}">
      <dgm:prSet phldrT="[Tekst]" custT="1"/>
      <dgm:spPr>
        <a:solidFill>
          <a:srgbClr val="646567"/>
        </a:solidFill>
      </dgm:spPr>
      <dgm:t>
        <a:bodyPr/>
        <a:lstStyle/>
        <a:p>
          <a:r>
            <a:rPr lang="pl-PL" sz="1200" dirty="0" smtClean="0">
              <a:solidFill>
                <a:schemeClr val="bg1"/>
              </a:solidFill>
            </a:rPr>
            <a:t>TGE</a:t>
          </a:r>
          <a:endParaRPr lang="pl-PL" sz="1200" dirty="0">
            <a:solidFill>
              <a:schemeClr val="bg1"/>
            </a:solidFill>
          </a:endParaRPr>
        </a:p>
      </dgm:t>
    </dgm:pt>
    <dgm:pt modelId="{0600D691-648B-40FA-9D54-8A32D22608E3}" type="parTrans" cxnId="{5F77C4EA-9374-47FF-AC01-CCC844FAC454}">
      <dgm:prSet/>
      <dgm:spPr>
        <a:solidFill>
          <a:schemeClr val="tx1"/>
        </a:solidFill>
        <a:ln w="28575">
          <a:solidFill>
            <a:schemeClr val="tx1"/>
          </a:solidFill>
        </a:ln>
      </dgm:spPr>
      <dgm:t>
        <a:bodyPr/>
        <a:lstStyle/>
        <a:p>
          <a:endParaRPr lang="pl-PL"/>
        </a:p>
      </dgm:t>
    </dgm:pt>
    <dgm:pt modelId="{F48D9AAF-179A-4677-BE42-2CFFEDBB0597}" type="sibTrans" cxnId="{5F77C4EA-9374-47FF-AC01-CCC844FAC454}">
      <dgm:prSet/>
      <dgm:spPr/>
      <dgm:t>
        <a:bodyPr/>
        <a:lstStyle/>
        <a:p>
          <a:endParaRPr lang="pl-PL"/>
        </a:p>
      </dgm:t>
    </dgm:pt>
    <dgm:pt modelId="{5C2AD7EC-28D5-460E-A7A5-321F794267EF}">
      <dgm:prSet phldrT="[Tekst]" custT="1"/>
      <dgm:spPr>
        <a:solidFill>
          <a:srgbClr val="646567"/>
        </a:solidFill>
      </dgm:spPr>
      <dgm:t>
        <a:bodyPr/>
        <a:lstStyle/>
        <a:p>
          <a:r>
            <a:rPr lang="pl-PL" sz="1200" dirty="0" smtClean="0">
              <a:solidFill>
                <a:schemeClr val="bg1"/>
              </a:solidFill>
            </a:rPr>
            <a:t>GAZ - SYSTEM</a:t>
          </a:r>
          <a:endParaRPr lang="pl-PL" sz="1200" dirty="0">
            <a:solidFill>
              <a:schemeClr val="bg1"/>
            </a:solidFill>
          </a:endParaRPr>
        </a:p>
      </dgm:t>
    </dgm:pt>
    <dgm:pt modelId="{EC7F59EA-8950-4429-868D-3202DB60C82A}" type="parTrans" cxnId="{0E2095A6-44ED-4088-AA9D-0C9FDF19C333}">
      <dgm:prSet/>
      <dgm:spPr>
        <a:solidFill>
          <a:schemeClr val="tx1"/>
        </a:solidFill>
        <a:ln w="28575"/>
      </dgm:spPr>
      <dgm:t>
        <a:bodyPr/>
        <a:lstStyle/>
        <a:p>
          <a:endParaRPr lang="pl-PL"/>
        </a:p>
      </dgm:t>
    </dgm:pt>
    <dgm:pt modelId="{79A17594-AE00-4144-8E95-9357072C0143}" type="sibTrans" cxnId="{0E2095A6-44ED-4088-AA9D-0C9FDF19C333}">
      <dgm:prSet/>
      <dgm:spPr/>
      <dgm:t>
        <a:bodyPr/>
        <a:lstStyle/>
        <a:p>
          <a:endParaRPr lang="pl-PL"/>
        </a:p>
      </dgm:t>
    </dgm:pt>
    <dgm:pt modelId="{B72E4F29-B2F7-4217-98ED-F1342674336E}">
      <dgm:prSet phldrT="[Tekst]" custT="1"/>
      <dgm:spPr>
        <a:solidFill>
          <a:srgbClr val="646567"/>
        </a:solidFill>
      </dgm:spPr>
      <dgm:t>
        <a:bodyPr/>
        <a:lstStyle/>
        <a:p>
          <a:r>
            <a:rPr lang="pl-PL" sz="1200" dirty="0" smtClean="0">
              <a:solidFill>
                <a:schemeClr val="bg1"/>
              </a:solidFill>
            </a:rPr>
            <a:t>IRGiT</a:t>
          </a:r>
          <a:endParaRPr lang="pl-PL" sz="1200" dirty="0">
            <a:solidFill>
              <a:schemeClr val="bg1"/>
            </a:solidFill>
          </a:endParaRPr>
        </a:p>
      </dgm:t>
    </dgm:pt>
    <dgm:pt modelId="{4C4B4077-EB5E-4825-8314-0320569FFED1}" type="parTrans" cxnId="{09023AB8-E591-465A-BF55-A740AA3989DE}">
      <dgm:prSet/>
      <dgm:spPr>
        <a:solidFill>
          <a:schemeClr val="tx1"/>
        </a:solidFill>
        <a:ln w="28575"/>
      </dgm:spPr>
      <dgm:t>
        <a:bodyPr/>
        <a:lstStyle/>
        <a:p>
          <a:endParaRPr lang="pl-PL"/>
        </a:p>
      </dgm:t>
    </dgm:pt>
    <dgm:pt modelId="{F6487F10-4159-4727-AF3B-EADF619542AB}" type="sibTrans" cxnId="{09023AB8-E591-465A-BF55-A740AA3989DE}">
      <dgm:prSet/>
      <dgm:spPr/>
      <dgm:t>
        <a:bodyPr/>
        <a:lstStyle/>
        <a:p>
          <a:endParaRPr lang="pl-PL"/>
        </a:p>
      </dgm:t>
    </dgm:pt>
    <dgm:pt modelId="{F31EDEFF-B554-46B7-AF5E-6A4C07747BD5}">
      <dgm:prSet phldrT="[Tekst]" custT="1"/>
      <dgm:spPr>
        <a:solidFill>
          <a:srgbClr val="646567"/>
        </a:solidFill>
      </dgm:spPr>
      <dgm:t>
        <a:bodyPr/>
        <a:lstStyle/>
        <a:p>
          <a:r>
            <a:rPr lang="pl-PL" sz="1200" dirty="0" smtClean="0">
              <a:solidFill>
                <a:schemeClr val="bg1"/>
              </a:solidFill>
            </a:rPr>
            <a:t>UCZESTNICY RYNKU - USŁUGODAWCY</a:t>
          </a:r>
          <a:endParaRPr lang="pl-PL" sz="1200" dirty="0">
            <a:solidFill>
              <a:schemeClr val="bg1"/>
            </a:solidFill>
          </a:endParaRPr>
        </a:p>
      </dgm:t>
    </dgm:pt>
    <dgm:pt modelId="{E72ECC2C-BC02-469E-8DF2-A5C069CB31AC}" type="parTrans" cxnId="{60860AF9-E217-4123-A655-658C7B9EA3EC}">
      <dgm:prSet/>
      <dgm:spPr>
        <a:solidFill>
          <a:schemeClr val="tx1"/>
        </a:solidFill>
        <a:ln w="28575"/>
      </dgm:spPr>
      <dgm:t>
        <a:bodyPr/>
        <a:lstStyle/>
        <a:p>
          <a:endParaRPr lang="pl-PL"/>
        </a:p>
      </dgm:t>
    </dgm:pt>
    <dgm:pt modelId="{609F83F6-38D8-4345-82E7-B16625F8CB3C}" type="sibTrans" cxnId="{60860AF9-E217-4123-A655-658C7B9EA3EC}">
      <dgm:prSet/>
      <dgm:spPr/>
      <dgm:t>
        <a:bodyPr/>
        <a:lstStyle/>
        <a:p>
          <a:endParaRPr lang="pl-PL"/>
        </a:p>
      </dgm:t>
    </dgm:pt>
    <dgm:pt modelId="{844A419F-B1D0-4126-93DF-068EF04B9AFD}">
      <dgm:prSet phldrT="[Tekst]" custT="1"/>
      <dgm:spPr>
        <a:solidFill>
          <a:srgbClr val="646567"/>
        </a:solidFill>
      </dgm:spPr>
      <dgm:t>
        <a:bodyPr/>
        <a:lstStyle/>
        <a:p>
          <a:r>
            <a:rPr lang="pl-PL" sz="1200" dirty="0" smtClean="0">
              <a:solidFill>
                <a:schemeClr val="bg1"/>
              </a:solidFill>
            </a:rPr>
            <a:t>MAGAZYNY GAZU</a:t>
          </a:r>
          <a:endParaRPr lang="pl-PL" sz="1200" dirty="0">
            <a:solidFill>
              <a:schemeClr val="bg1"/>
            </a:solidFill>
          </a:endParaRPr>
        </a:p>
      </dgm:t>
    </dgm:pt>
    <dgm:pt modelId="{896699FE-8FB6-4670-880C-EE5B2F628FE3}" type="parTrans" cxnId="{CDAB9C3E-C961-434B-8761-436C3A9C8D6C}">
      <dgm:prSet/>
      <dgm:spPr/>
      <dgm:t>
        <a:bodyPr/>
        <a:lstStyle/>
        <a:p>
          <a:endParaRPr lang="pl-PL"/>
        </a:p>
      </dgm:t>
    </dgm:pt>
    <dgm:pt modelId="{7B50A255-A546-49FF-8D25-B879CC0A9D2C}" type="sibTrans" cxnId="{CDAB9C3E-C961-434B-8761-436C3A9C8D6C}">
      <dgm:prSet/>
      <dgm:spPr/>
      <dgm:t>
        <a:bodyPr/>
        <a:lstStyle/>
        <a:p>
          <a:endParaRPr lang="pl-PL"/>
        </a:p>
      </dgm:t>
    </dgm:pt>
    <dgm:pt modelId="{8883B84B-5AB9-4959-9FB5-E0AA875E1183}" type="pres">
      <dgm:prSet presAssocID="{4AAC0E7B-93A4-461F-AA00-7A3348566A53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  <dgm:t>
        <a:bodyPr/>
        <a:lstStyle/>
        <a:p>
          <a:endParaRPr lang="pl-PL"/>
        </a:p>
      </dgm:t>
    </dgm:pt>
    <dgm:pt modelId="{1317E8ED-297F-4283-B8BB-C91ED6CD691A}" type="pres">
      <dgm:prSet presAssocID="{4145EF1C-B646-4F2C-9A5F-A47EF6BC87F5}" presName="root1" presStyleCnt="0"/>
      <dgm:spPr/>
      <dgm:t>
        <a:bodyPr/>
        <a:lstStyle/>
        <a:p>
          <a:endParaRPr lang="pl-PL"/>
        </a:p>
      </dgm:t>
    </dgm:pt>
    <dgm:pt modelId="{FC0CA611-ACE8-47E4-9D8F-E5C1F950ECF6}" type="pres">
      <dgm:prSet presAssocID="{4145EF1C-B646-4F2C-9A5F-A47EF6BC87F5}" presName="LevelOneTextNode" presStyleLbl="node0" presStyleIdx="0" presStyleCnt="1" custScaleX="250967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3FB2D465-8948-46B0-AEA7-FCE97EDB48EF}" type="pres">
      <dgm:prSet presAssocID="{4145EF1C-B646-4F2C-9A5F-A47EF6BC87F5}" presName="level2hierChild" presStyleCnt="0"/>
      <dgm:spPr/>
      <dgm:t>
        <a:bodyPr/>
        <a:lstStyle/>
        <a:p>
          <a:endParaRPr lang="pl-PL"/>
        </a:p>
      </dgm:t>
    </dgm:pt>
    <dgm:pt modelId="{07CF40DB-34D6-4CBE-A2CC-057F1D83E6C4}" type="pres">
      <dgm:prSet presAssocID="{0600D691-648B-40FA-9D54-8A32D22608E3}" presName="conn2-1" presStyleLbl="parChTrans1D2" presStyleIdx="0" presStyleCnt="5"/>
      <dgm:spPr/>
      <dgm:t>
        <a:bodyPr/>
        <a:lstStyle/>
        <a:p>
          <a:endParaRPr lang="pl-PL"/>
        </a:p>
      </dgm:t>
    </dgm:pt>
    <dgm:pt modelId="{23E046F5-8C31-4819-9F41-D9A7C163493E}" type="pres">
      <dgm:prSet presAssocID="{0600D691-648B-40FA-9D54-8A32D22608E3}" presName="connTx" presStyleLbl="parChTrans1D2" presStyleIdx="0" presStyleCnt="5"/>
      <dgm:spPr/>
      <dgm:t>
        <a:bodyPr/>
        <a:lstStyle/>
        <a:p>
          <a:endParaRPr lang="pl-PL"/>
        </a:p>
      </dgm:t>
    </dgm:pt>
    <dgm:pt modelId="{BE13DE4E-0C48-4394-9C49-E6DE5B48FCA2}" type="pres">
      <dgm:prSet presAssocID="{D2D18540-CBF5-42DA-9A68-5508C1BA8299}" presName="root2" presStyleCnt="0"/>
      <dgm:spPr/>
      <dgm:t>
        <a:bodyPr/>
        <a:lstStyle/>
        <a:p>
          <a:endParaRPr lang="pl-PL"/>
        </a:p>
      </dgm:t>
    </dgm:pt>
    <dgm:pt modelId="{BA77E8D3-52A9-49DD-B0D1-F1ABE72DF7F2}" type="pres">
      <dgm:prSet presAssocID="{D2D18540-CBF5-42DA-9A68-5508C1BA8299}" presName="LevelTwoTextNode" presStyleLbl="node2" presStyleIdx="0" presStyleCnt="5" custScaleX="140126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BBF43B1B-195C-447C-9681-8B7FE606BD85}" type="pres">
      <dgm:prSet presAssocID="{D2D18540-CBF5-42DA-9A68-5508C1BA8299}" presName="level3hierChild" presStyleCnt="0"/>
      <dgm:spPr/>
      <dgm:t>
        <a:bodyPr/>
        <a:lstStyle/>
        <a:p>
          <a:endParaRPr lang="pl-PL"/>
        </a:p>
      </dgm:t>
    </dgm:pt>
    <dgm:pt modelId="{99CB2011-D2A8-463E-BAA3-AD22A5DD1DE7}" type="pres">
      <dgm:prSet presAssocID="{EC7F59EA-8950-4429-868D-3202DB60C82A}" presName="conn2-1" presStyleLbl="parChTrans1D2" presStyleIdx="1" presStyleCnt="5"/>
      <dgm:spPr/>
      <dgm:t>
        <a:bodyPr/>
        <a:lstStyle/>
        <a:p>
          <a:endParaRPr lang="pl-PL"/>
        </a:p>
      </dgm:t>
    </dgm:pt>
    <dgm:pt modelId="{3927B38C-4920-4F3A-B456-D108ECB40F52}" type="pres">
      <dgm:prSet presAssocID="{EC7F59EA-8950-4429-868D-3202DB60C82A}" presName="connTx" presStyleLbl="parChTrans1D2" presStyleIdx="1" presStyleCnt="5"/>
      <dgm:spPr/>
      <dgm:t>
        <a:bodyPr/>
        <a:lstStyle/>
        <a:p>
          <a:endParaRPr lang="pl-PL"/>
        </a:p>
      </dgm:t>
    </dgm:pt>
    <dgm:pt modelId="{F5CA2B91-E281-4612-826C-44190DFF4161}" type="pres">
      <dgm:prSet presAssocID="{5C2AD7EC-28D5-460E-A7A5-321F794267EF}" presName="root2" presStyleCnt="0"/>
      <dgm:spPr/>
      <dgm:t>
        <a:bodyPr/>
        <a:lstStyle/>
        <a:p>
          <a:endParaRPr lang="pl-PL"/>
        </a:p>
      </dgm:t>
    </dgm:pt>
    <dgm:pt modelId="{FC1915F7-E1F5-40F3-B46D-65B219FD5C5C}" type="pres">
      <dgm:prSet presAssocID="{5C2AD7EC-28D5-460E-A7A5-321F794267EF}" presName="LevelTwoTextNode" presStyleLbl="node2" presStyleIdx="1" presStyleCnt="5" custScaleX="140126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C111A297-A6B6-4FFC-A7A0-1BD5206EBCEF}" type="pres">
      <dgm:prSet presAssocID="{5C2AD7EC-28D5-460E-A7A5-321F794267EF}" presName="level3hierChild" presStyleCnt="0"/>
      <dgm:spPr/>
      <dgm:t>
        <a:bodyPr/>
        <a:lstStyle/>
        <a:p>
          <a:endParaRPr lang="pl-PL"/>
        </a:p>
      </dgm:t>
    </dgm:pt>
    <dgm:pt modelId="{C445E91A-A0C2-4EE3-9E39-2FD08424CB60}" type="pres">
      <dgm:prSet presAssocID="{4C4B4077-EB5E-4825-8314-0320569FFED1}" presName="conn2-1" presStyleLbl="parChTrans1D2" presStyleIdx="2" presStyleCnt="5"/>
      <dgm:spPr/>
      <dgm:t>
        <a:bodyPr/>
        <a:lstStyle/>
        <a:p>
          <a:endParaRPr lang="pl-PL"/>
        </a:p>
      </dgm:t>
    </dgm:pt>
    <dgm:pt modelId="{BC891F40-8DA6-40D7-881C-4C9B6C3B3D91}" type="pres">
      <dgm:prSet presAssocID="{4C4B4077-EB5E-4825-8314-0320569FFED1}" presName="connTx" presStyleLbl="parChTrans1D2" presStyleIdx="2" presStyleCnt="5"/>
      <dgm:spPr/>
      <dgm:t>
        <a:bodyPr/>
        <a:lstStyle/>
        <a:p>
          <a:endParaRPr lang="pl-PL"/>
        </a:p>
      </dgm:t>
    </dgm:pt>
    <dgm:pt modelId="{520006AD-7987-4374-BCA5-9B85E9F96DD8}" type="pres">
      <dgm:prSet presAssocID="{B72E4F29-B2F7-4217-98ED-F1342674336E}" presName="root2" presStyleCnt="0"/>
      <dgm:spPr/>
      <dgm:t>
        <a:bodyPr/>
        <a:lstStyle/>
        <a:p>
          <a:endParaRPr lang="pl-PL"/>
        </a:p>
      </dgm:t>
    </dgm:pt>
    <dgm:pt modelId="{183F9F80-CDFF-4C67-842E-C91D82BCE571}" type="pres">
      <dgm:prSet presAssocID="{B72E4F29-B2F7-4217-98ED-F1342674336E}" presName="LevelTwoTextNode" presStyleLbl="node2" presStyleIdx="2" presStyleCnt="5" custScaleX="140126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75394CDF-790B-4375-80B2-8875F7C70D7C}" type="pres">
      <dgm:prSet presAssocID="{B72E4F29-B2F7-4217-98ED-F1342674336E}" presName="level3hierChild" presStyleCnt="0"/>
      <dgm:spPr/>
      <dgm:t>
        <a:bodyPr/>
        <a:lstStyle/>
        <a:p>
          <a:endParaRPr lang="pl-PL"/>
        </a:p>
      </dgm:t>
    </dgm:pt>
    <dgm:pt modelId="{BB429E1F-1A09-411F-BB00-1E47F1DBA9AF}" type="pres">
      <dgm:prSet presAssocID="{896699FE-8FB6-4670-880C-EE5B2F628FE3}" presName="conn2-1" presStyleLbl="parChTrans1D2" presStyleIdx="3" presStyleCnt="5"/>
      <dgm:spPr/>
      <dgm:t>
        <a:bodyPr/>
        <a:lstStyle/>
        <a:p>
          <a:endParaRPr lang="pl-PL"/>
        </a:p>
      </dgm:t>
    </dgm:pt>
    <dgm:pt modelId="{1CE410F4-9D91-4ABD-9EC2-DD2A40311209}" type="pres">
      <dgm:prSet presAssocID="{896699FE-8FB6-4670-880C-EE5B2F628FE3}" presName="connTx" presStyleLbl="parChTrans1D2" presStyleIdx="3" presStyleCnt="5"/>
      <dgm:spPr/>
      <dgm:t>
        <a:bodyPr/>
        <a:lstStyle/>
        <a:p>
          <a:endParaRPr lang="pl-PL"/>
        </a:p>
      </dgm:t>
    </dgm:pt>
    <dgm:pt modelId="{D1901CEE-8DA5-4312-90B9-8C635ED97D74}" type="pres">
      <dgm:prSet presAssocID="{844A419F-B1D0-4126-93DF-068EF04B9AFD}" presName="root2" presStyleCnt="0"/>
      <dgm:spPr/>
    </dgm:pt>
    <dgm:pt modelId="{F0A6DFBD-0D15-4B0A-BF45-A06419A923AF}" type="pres">
      <dgm:prSet presAssocID="{844A419F-B1D0-4126-93DF-068EF04B9AFD}" presName="LevelTwoTextNode" presStyleLbl="node2" presStyleIdx="3" presStyleCnt="5" custScaleX="140126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9EEE3E1E-FA97-4419-8DDA-D4F06425570E}" type="pres">
      <dgm:prSet presAssocID="{844A419F-B1D0-4126-93DF-068EF04B9AFD}" presName="level3hierChild" presStyleCnt="0"/>
      <dgm:spPr/>
    </dgm:pt>
    <dgm:pt modelId="{230D7F6F-8A6A-4E93-8E12-B0157F50B9F3}" type="pres">
      <dgm:prSet presAssocID="{E72ECC2C-BC02-469E-8DF2-A5C069CB31AC}" presName="conn2-1" presStyleLbl="parChTrans1D2" presStyleIdx="4" presStyleCnt="5"/>
      <dgm:spPr/>
      <dgm:t>
        <a:bodyPr/>
        <a:lstStyle/>
        <a:p>
          <a:endParaRPr lang="pl-PL"/>
        </a:p>
      </dgm:t>
    </dgm:pt>
    <dgm:pt modelId="{F3898BA2-313B-400B-B9A8-3E86E25221EF}" type="pres">
      <dgm:prSet presAssocID="{E72ECC2C-BC02-469E-8DF2-A5C069CB31AC}" presName="connTx" presStyleLbl="parChTrans1D2" presStyleIdx="4" presStyleCnt="5"/>
      <dgm:spPr/>
      <dgm:t>
        <a:bodyPr/>
        <a:lstStyle/>
        <a:p>
          <a:endParaRPr lang="pl-PL"/>
        </a:p>
      </dgm:t>
    </dgm:pt>
    <dgm:pt modelId="{3A25212D-D33F-4DBF-9663-67B86912D682}" type="pres">
      <dgm:prSet presAssocID="{F31EDEFF-B554-46B7-AF5E-6A4C07747BD5}" presName="root2" presStyleCnt="0"/>
      <dgm:spPr/>
      <dgm:t>
        <a:bodyPr/>
        <a:lstStyle/>
        <a:p>
          <a:endParaRPr lang="pl-PL"/>
        </a:p>
      </dgm:t>
    </dgm:pt>
    <dgm:pt modelId="{313DA619-E820-4E62-A26E-A6B75EDCF6CA}" type="pres">
      <dgm:prSet presAssocID="{F31EDEFF-B554-46B7-AF5E-6A4C07747BD5}" presName="LevelTwoTextNode" presStyleLbl="node2" presStyleIdx="4" presStyleCnt="5" custScaleX="140126">
        <dgm:presLayoutVars>
          <dgm:chPref val="3"/>
        </dgm:presLayoutVars>
      </dgm:prSet>
      <dgm:spPr/>
      <dgm:t>
        <a:bodyPr/>
        <a:lstStyle/>
        <a:p>
          <a:endParaRPr lang="pl-PL"/>
        </a:p>
      </dgm:t>
    </dgm:pt>
    <dgm:pt modelId="{3A632F90-4A16-4DC3-A550-34A86BD72BCF}" type="pres">
      <dgm:prSet presAssocID="{F31EDEFF-B554-46B7-AF5E-6A4C07747BD5}" presName="level3hierChild" presStyleCnt="0"/>
      <dgm:spPr/>
      <dgm:t>
        <a:bodyPr/>
        <a:lstStyle/>
        <a:p>
          <a:endParaRPr lang="pl-PL"/>
        </a:p>
      </dgm:t>
    </dgm:pt>
  </dgm:ptLst>
  <dgm:cxnLst>
    <dgm:cxn modelId="{262A56F7-6FA8-4F50-90D4-005ADDC6403E}" type="presOf" srcId="{896699FE-8FB6-4670-880C-EE5B2F628FE3}" destId="{1CE410F4-9D91-4ABD-9EC2-DD2A40311209}" srcOrd="1" destOrd="0" presId="urn:microsoft.com/office/officeart/2008/layout/HorizontalMultiLevelHierarchy"/>
    <dgm:cxn modelId="{5F77C4EA-9374-47FF-AC01-CCC844FAC454}" srcId="{4145EF1C-B646-4F2C-9A5F-A47EF6BC87F5}" destId="{D2D18540-CBF5-42DA-9A68-5508C1BA8299}" srcOrd="0" destOrd="0" parTransId="{0600D691-648B-40FA-9D54-8A32D22608E3}" sibTransId="{F48D9AAF-179A-4677-BE42-2CFFEDBB0597}"/>
    <dgm:cxn modelId="{4507C4FF-661A-4F5C-A0C6-FDACE905BDFC}" type="presOf" srcId="{4145EF1C-B646-4F2C-9A5F-A47EF6BC87F5}" destId="{FC0CA611-ACE8-47E4-9D8F-E5C1F950ECF6}" srcOrd="0" destOrd="0" presId="urn:microsoft.com/office/officeart/2008/layout/HorizontalMultiLevelHierarchy"/>
    <dgm:cxn modelId="{69230F10-4561-4BAC-AAE2-182C0C7D55AB}" type="presOf" srcId="{5C2AD7EC-28D5-460E-A7A5-321F794267EF}" destId="{FC1915F7-E1F5-40F3-B46D-65B219FD5C5C}" srcOrd="0" destOrd="0" presId="urn:microsoft.com/office/officeart/2008/layout/HorizontalMultiLevelHierarchy"/>
    <dgm:cxn modelId="{46A92EB2-3F71-4F4D-8F29-54297A477925}" type="presOf" srcId="{896699FE-8FB6-4670-880C-EE5B2F628FE3}" destId="{BB429E1F-1A09-411F-BB00-1E47F1DBA9AF}" srcOrd="0" destOrd="0" presId="urn:microsoft.com/office/officeart/2008/layout/HorizontalMultiLevelHierarchy"/>
    <dgm:cxn modelId="{38E57930-7287-4DB1-A6C4-4ADD7D011927}" type="presOf" srcId="{D2D18540-CBF5-42DA-9A68-5508C1BA8299}" destId="{BA77E8D3-52A9-49DD-B0D1-F1ABE72DF7F2}" srcOrd="0" destOrd="0" presId="urn:microsoft.com/office/officeart/2008/layout/HorizontalMultiLevelHierarchy"/>
    <dgm:cxn modelId="{35114EAC-D0CD-48C8-BE6E-3338762627E9}" type="presOf" srcId="{EC7F59EA-8950-4429-868D-3202DB60C82A}" destId="{3927B38C-4920-4F3A-B456-D108ECB40F52}" srcOrd="1" destOrd="0" presId="urn:microsoft.com/office/officeart/2008/layout/HorizontalMultiLevelHierarchy"/>
    <dgm:cxn modelId="{CDAB9C3E-C961-434B-8761-436C3A9C8D6C}" srcId="{4145EF1C-B646-4F2C-9A5F-A47EF6BC87F5}" destId="{844A419F-B1D0-4126-93DF-068EF04B9AFD}" srcOrd="3" destOrd="0" parTransId="{896699FE-8FB6-4670-880C-EE5B2F628FE3}" sibTransId="{7B50A255-A546-49FF-8D25-B879CC0A9D2C}"/>
    <dgm:cxn modelId="{5F49419F-A9BA-40E6-9E04-4E7E8CD67860}" type="presOf" srcId="{844A419F-B1D0-4126-93DF-068EF04B9AFD}" destId="{F0A6DFBD-0D15-4B0A-BF45-A06419A923AF}" srcOrd="0" destOrd="0" presId="urn:microsoft.com/office/officeart/2008/layout/HorizontalMultiLevelHierarchy"/>
    <dgm:cxn modelId="{AADA5199-0E26-4A21-B8FB-316874D05CD9}" type="presOf" srcId="{E72ECC2C-BC02-469E-8DF2-A5C069CB31AC}" destId="{F3898BA2-313B-400B-B9A8-3E86E25221EF}" srcOrd="1" destOrd="0" presId="urn:microsoft.com/office/officeart/2008/layout/HorizontalMultiLevelHierarchy"/>
    <dgm:cxn modelId="{967008B9-C8F6-4661-B4BE-7E77718AD206}" type="presOf" srcId="{4AAC0E7B-93A4-461F-AA00-7A3348566A53}" destId="{8883B84B-5AB9-4959-9FB5-E0AA875E1183}" srcOrd="0" destOrd="0" presId="urn:microsoft.com/office/officeart/2008/layout/HorizontalMultiLevelHierarchy"/>
    <dgm:cxn modelId="{2288736D-4B08-495A-BF37-1571147B7BDE}" srcId="{4AAC0E7B-93A4-461F-AA00-7A3348566A53}" destId="{4145EF1C-B646-4F2C-9A5F-A47EF6BC87F5}" srcOrd="0" destOrd="0" parTransId="{EEF8A0D0-A8E9-4051-9D33-26A75D7F6D6E}" sibTransId="{DDFCBE4C-FD13-4309-94AF-D2E142984486}"/>
    <dgm:cxn modelId="{9FA5B331-FEB2-4DE1-824C-EAA142FF44AF}" type="presOf" srcId="{0600D691-648B-40FA-9D54-8A32D22608E3}" destId="{23E046F5-8C31-4819-9F41-D9A7C163493E}" srcOrd="1" destOrd="0" presId="urn:microsoft.com/office/officeart/2008/layout/HorizontalMultiLevelHierarchy"/>
    <dgm:cxn modelId="{2B6D9875-A1CE-4CAB-BFB0-845E5D6BCB0F}" type="presOf" srcId="{4C4B4077-EB5E-4825-8314-0320569FFED1}" destId="{C445E91A-A0C2-4EE3-9E39-2FD08424CB60}" srcOrd="0" destOrd="0" presId="urn:microsoft.com/office/officeart/2008/layout/HorizontalMultiLevelHierarchy"/>
    <dgm:cxn modelId="{0E2095A6-44ED-4088-AA9D-0C9FDF19C333}" srcId="{4145EF1C-B646-4F2C-9A5F-A47EF6BC87F5}" destId="{5C2AD7EC-28D5-460E-A7A5-321F794267EF}" srcOrd="1" destOrd="0" parTransId="{EC7F59EA-8950-4429-868D-3202DB60C82A}" sibTransId="{79A17594-AE00-4144-8E95-9357072C0143}"/>
    <dgm:cxn modelId="{E018BBDA-D7BD-4A8C-9050-A867257AC74B}" type="presOf" srcId="{0600D691-648B-40FA-9D54-8A32D22608E3}" destId="{07CF40DB-34D6-4CBE-A2CC-057F1D83E6C4}" srcOrd="0" destOrd="0" presId="urn:microsoft.com/office/officeart/2008/layout/HorizontalMultiLevelHierarchy"/>
    <dgm:cxn modelId="{B3CD55FF-7A06-4DBF-B4FA-2B5766929A23}" type="presOf" srcId="{EC7F59EA-8950-4429-868D-3202DB60C82A}" destId="{99CB2011-D2A8-463E-BAA3-AD22A5DD1DE7}" srcOrd="0" destOrd="0" presId="urn:microsoft.com/office/officeart/2008/layout/HorizontalMultiLevelHierarchy"/>
    <dgm:cxn modelId="{A20A8991-3A55-4A02-9574-C806B5630E34}" type="presOf" srcId="{E72ECC2C-BC02-469E-8DF2-A5C069CB31AC}" destId="{230D7F6F-8A6A-4E93-8E12-B0157F50B9F3}" srcOrd="0" destOrd="0" presId="urn:microsoft.com/office/officeart/2008/layout/HorizontalMultiLevelHierarchy"/>
    <dgm:cxn modelId="{09023AB8-E591-465A-BF55-A740AA3989DE}" srcId="{4145EF1C-B646-4F2C-9A5F-A47EF6BC87F5}" destId="{B72E4F29-B2F7-4217-98ED-F1342674336E}" srcOrd="2" destOrd="0" parTransId="{4C4B4077-EB5E-4825-8314-0320569FFED1}" sibTransId="{F6487F10-4159-4727-AF3B-EADF619542AB}"/>
    <dgm:cxn modelId="{AA7954E1-0DB5-4B67-B658-54B7C85AA188}" type="presOf" srcId="{F31EDEFF-B554-46B7-AF5E-6A4C07747BD5}" destId="{313DA619-E820-4E62-A26E-A6B75EDCF6CA}" srcOrd="0" destOrd="0" presId="urn:microsoft.com/office/officeart/2008/layout/HorizontalMultiLevelHierarchy"/>
    <dgm:cxn modelId="{60860AF9-E217-4123-A655-658C7B9EA3EC}" srcId="{4145EF1C-B646-4F2C-9A5F-A47EF6BC87F5}" destId="{F31EDEFF-B554-46B7-AF5E-6A4C07747BD5}" srcOrd="4" destOrd="0" parTransId="{E72ECC2C-BC02-469E-8DF2-A5C069CB31AC}" sibTransId="{609F83F6-38D8-4345-82E7-B16625F8CB3C}"/>
    <dgm:cxn modelId="{6C30DC41-20A8-4757-BCDC-22D4935F8F76}" type="presOf" srcId="{4C4B4077-EB5E-4825-8314-0320569FFED1}" destId="{BC891F40-8DA6-40D7-881C-4C9B6C3B3D91}" srcOrd="1" destOrd="0" presId="urn:microsoft.com/office/officeart/2008/layout/HorizontalMultiLevelHierarchy"/>
    <dgm:cxn modelId="{985DA78B-260E-45BC-B770-9B56848CE6C3}" type="presOf" srcId="{B72E4F29-B2F7-4217-98ED-F1342674336E}" destId="{183F9F80-CDFF-4C67-842E-C91D82BCE571}" srcOrd="0" destOrd="0" presId="urn:microsoft.com/office/officeart/2008/layout/HorizontalMultiLevelHierarchy"/>
    <dgm:cxn modelId="{34235B43-B7A7-4936-B8F1-065A6ABD0666}" type="presParOf" srcId="{8883B84B-5AB9-4959-9FB5-E0AA875E1183}" destId="{1317E8ED-297F-4283-B8BB-C91ED6CD691A}" srcOrd="0" destOrd="0" presId="urn:microsoft.com/office/officeart/2008/layout/HorizontalMultiLevelHierarchy"/>
    <dgm:cxn modelId="{B8C4B4E1-A96D-4913-9207-5B92909B29E6}" type="presParOf" srcId="{1317E8ED-297F-4283-B8BB-C91ED6CD691A}" destId="{FC0CA611-ACE8-47E4-9D8F-E5C1F950ECF6}" srcOrd="0" destOrd="0" presId="urn:microsoft.com/office/officeart/2008/layout/HorizontalMultiLevelHierarchy"/>
    <dgm:cxn modelId="{5400C793-1238-4C91-A407-77CF70ABA7D7}" type="presParOf" srcId="{1317E8ED-297F-4283-B8BB-C91ED6CD691A}" destId="{3FB2D465-8948-46B0-AEA7-FCE97EDB48EF}" srcOrd="1" destOrd="0" presId="urn:microsoft.com/office/officeart/2008/layout/HorizontalMultiLevelHierarchy"/>
    <dgm:cxn modelId="{08EC9E50-5C9E-4144-837A-FF16CCC84A07}" type="presParOf" srcId="{3FB2D465-8948-46B0-AEA7-FCE97EDB48EF}" destId="{07CF40DB-34D6-4CBE-A2CC-057F1D83E6C4}" srcOrd="0" destOrd="0" presId="urn:microsoft.com/office/officeart/2008/layout/HorizontalMultiLevelHierarchy"/>
    <dgm:cxn modelId="{3FD78575-AA07-4BE5-AB41-845C6FD70C4C}" type="presParOf" srcId="{07CF40DB-34D6-4CBE-A2CC-057F1D83E6C4}" destId="{23E046F5-8C31-4819-9F41-D9A7C163493E}" srcOrd="0" destOrd="0" presId="urn:microsoft.com/office/officeart/2008/layout/HorizontalMultiLevelHierarchy"/>
    <dgm:cxn modelId="{4E6F3EE1-FD7F-4F66-830C-90AFB43AE4E0}" type="presParOf" srcId="{3FB2D465-8948-46B0-AEA7-FCE97EDB48EF}" destId="{BE13DE4E-0C48-4394-9C49-E6DE5B48FCA2}" srcOrd="1" destOrd="0" presId="urn:microsoft.com/office/officeart/2008/layout/HorizontalMultiLevelHierarchy"/>
    <dgm:cxn modelId="{C03B8522-CB20-43A8-960A-32E000C1BED4}" type="presParOf" srcId="{BE13DE4E-0C48-4394-9C49-E6DE5B48FCA2}" destId="{BA77E8D3-52A9-49DD-B0D1-F1ABE72DF7F2}" srcOrd="0" destOrd="0" presId="urn:microsoft.com/office/officeart/2008/layout/HorizontalMultiLevelHierarchy"/>
    <dgm:cxn modelId="{E76368D8-EFF1-42F2-BCBE-3DE4097A8620}" type="presParOf" srcId="{BE13DE4E-0C48-4394-9C49-E6DE5B48FCA2}" destId="{BBF43B1B-195C-447C-9681-8B7FE606BD85}" srcOrd="1" destOrd="0" presId="urn:microsoft.com/office/officeart/2008/layout/HorizontalMultiLevelHierarchy"/>
    <dgm:cxn modelId="{0B15F091-47D9-428C-8436-BEAE9C5397A8}" type="presParOf" srcId="{3FB2D465-8948-46B0-AEA7-FCE97EDB48EF}" destId="{99CB2011-D2A8-463E-BAA3-AD22A5DD1DE7}" srcOrd="2" destOrd="0" presId="urn:microsoft.com/office/officeart/2008/layout/HorizontalMultiLevelHierarchy"/>
    <dgm:cxn modelId="{27B4AF54-9DA8-4D03-95C4-628B752FA3EB}" type="presParOf" srcId="{99CB2011-D2A8-463E-BAA3-AD22A5DD1DE7}" destId="{3927B38C-4920-4F3A-B456-D108ECB40F52}" srcOrd="0" destOrd="0" presId="urn:microsoft.com/office/officeart/2008/layout/HorizontalMultiLevelHierarchy"/>
    <dgm:cxn modelId="{ACA83953-D1F8-4D59-AB83-1351716E6DA8}" type="presParOf" srcId="{3FB2D465-8948-46B0-AEA7-FCE97EDB48EF}" destId="{F5CA2B91-E281-4612-826C-44190DFF4161}" srcOrd="3" destOrd="0" presId="urn:microsoft.com/office/officeart/2008/layout/HorizontalMultiLevelHierarchy"/>
    <dgm:cxn modelId="{FCA3BDD1-F329-4703-8D6D-15A0E60D1D8B}" type="presParOf" srcId="{F5CA2B91-E281-4612-826C-44190DFF4161}" destId="{FC1915F7-E1F5-40F3-B46D-65B219FD5C5C}" srcOrd="0" destOrd="0" presId="urn:microsoft.com/office/officeart/2008/layout/HorizontalMultiLevelHierarchy"/>
    <dgm:cxn modelId="{CB8C22CF-4201-4AFA-BB32-065AB5145E70}" type="presParOf" srcId="{F5CA2B91-E281-4612-826C-44190DFF4161}" destId="{C111A297-A6B6-4FFC-A7A0-1BD5206EBCEF}" srcOrd="1" destOrd="0" presId="urn:microsoft.com/office/officeart/2008/layout/HorizontalMultiLevelHierarchy"/>
    <dgm:cxn modelId="{AC77D467-79E5-4AF2-A46A-8BE4A6994691}" type="presParOf" srcId="{3FB2D465-8948-46B0-AEA7-FCE97EDB48EF}" destId="{C445E91A-A0C2-4EE3-9E39-2FD08424CB60}" srcOrd="4" destOrd="0" presId="urn:microsoft.com/office/officeart/2008/layout/HorizontalMultiLevelHierarchy"/>
    <dgm:cxn modelId="{239593D2-DA47-435F-A8CA-D559B2612941}" type="presParOf" srcId="{C445E91A-A0C2-4EE3-9E39-2FD08424CB60}" destId="{BC891F40-8DA6-40D7-881C-4C9B6C3B3D91}" srcOrd="0" destOrd="0" presId="urn:microsoft.com/office/officeart/2008/layout/HorizontalMultiLevelHierarchy"/>
    <dgm:cxn modelId="{E1261DDE-5586-4DC4-88D4-B04059C60C1B}" type="presParOf" srcId="{3FB2D465-8948-46B0-AEA7-FCE97EDB48EF}" destId="{520006AD-7987-4374-BCA5-9B85E9F96DD8}" srcOrd="5" destOrd="0" presId="urn:microsoft.com/office/officeart/2008/layout/HorizontalMultiLevelHierarchy"/>
    <dgm:cxn modelId="{7FD5C7C2-1E6B-494C-9F8B-65F7D73BDF35}" type="presParOf" srcId="{520006AD-7987-4374-BCA5-9B85E9F96DD8}" destId="{183F9F80-CDFF-4C67-842E-C91D82BCE571}" srcOrd="0" destOrd="0" presId="urn:microsoft.com/office/officeart/2008/layout/HorizontalMultiLevelHierarchy"/>
    <dgm:cxn modelId="{F22DBD7C-CB8F-46A8-B05E-D6353A1E9B05}" type="presParOf" srcId="{520006AD-7987-4374-BCA5-9B85E9F96DD8}" destId="{75394CDF-790B-4375-80B2-8875F7C70D7C}" srcOrd="1" destOrd="0" presId="urn:microsoft.com/office/officeart/2008/layout/HorizontalMultiLevelHierarchy"/>
    <dgm:cxn modelId="{AD460C37-D9E0-44B6-A640-4007858C07FD}" type="presParOf" srcId="{3FB2D465-8948-46B0-AEA7-FCE97EDB48EF}" destId="{BB429E1F-1A09-411F-BB00-1E47F1DBA9AF}" srcOrd="6" destOrd="0" presId="urn:microsoft.com/office/officeart/2008/layout/HorizontalMultiLevelHierarchy"/>
    <dgm:cxn modelId="{0FC1948F-7693-4CC5-8376-8694052B6470}" type="presParOf" srcId="{BB429E1F-1A09-411F-BB00-1E47F1DBA9AF}" destId="{1CE410F4-9D91-4ABD-9EC2-DD2A40311209}" srcOrd="0" destOrd="0" presId="urn:microsoft.com/office/officeart/2008/layout/HorizontalMultiLevelHierarchy"/>
    <dgm:cxn modelId="{F4445FBB-692A-4397-AE52-5AE537FACFA0}" type="presParOf" srcId="{3FB2D465-8948-46B0-AEA7-FCE97EDB48EF}" destId="{D1901CEE-8DA5-4312-90B9-8C635ED97D74}" srcOrd="7" destOrd="0" presId="urn:microsoft.com/office/officeart/2008/layout/HorizontalMultiLevelHierarchy"/>
    <dgm:cxn modelId="{8024630A-79F6-4A54-BBF1-59620B950276}" type="presParOf" srcId="{D1901CEE-8DA5-4312-90B9-8C635ED97D74}" destId="{F0A6DFBD-0D15-4B0A-BF45-A06419A923AF}" srcOrd="0" destOrd="0" presId="urn:microsoft.com/office/officeart/2008/layout/HorizontalMultiLevelHierarchy"/>
    <dgm:cxn modelId="{69B7D6C1-31CE-4FFC-AD09-08233CC3EC0F}" type="presParOf" srcId="{D1901CEE-8DA5-4312-90B9-8C635ED97D74}" destId="{9EEE3E1E-FA97-4419-8DDA-D4F06425570E}" srcOrd="1" destOrd="0" presId="urn:microsoft.com/office/officeart/2008/layout/HorizontalMultiLevelHierarchy"/>
    <dgm:cxn modelId="{D1B61073-8824-4BF5-9AFE-DDD6059292DB}" type="presParOf" srcId="{3FB2D465-8948-46B0-AEA7-FCE97EDB48EF}" destId="{230D7F6F-8A6A-4E93-8E12-B0157F50B9F3}" srcOrd="8" destOrd="0" presId="urn:microsoft.com/office/officeart/2008/layout/HorizontalMultiLevelHierarchy"/>
    <dgm:cxn modelId="{06865437-62F4-4E9A-B048-C0E8754AB8C4}" type="presParOf" srcId="{230D7F6F-8A6A-4E93-8E12-B0157F50B9F3}" destId="{F3898BA2-313B-400B-B9A8-3E86E25221EF}" srcOrd="0" destOrd="0" presId="urn:microsoft.com/office/officeart/2008/layout/HorizontalMultiLevelHierarchy"/>
    <dgm:cxn modelId="{7FDDAD3F-62CF-452A-B577-2C8AD07E685C}" type="presParOf" srcId="{3FB2D465-8948-46B0-AEA7-FCE97EDB48EF}" destId="{3A25212D-D33F-4DBF-9663-67B86912D682}" srcOrd="9" destOrd="0" presId="urn:microsoft.com/office/officeart/2008/layout/HorizontalMultiLevelHierarchy"/>
    <dgm:cxn modelId="{BAF2EFF0-4514-4C5E-815F-16A06CEC5B07}" type="presParOf" srcId="{3A25212D-D33F-4DBF-9663-67B86912D682}" destId="{313DA619-E820-4E62-A26E-A6B75EDCF6CA}" srcOrd="0" destOrd="0" presId="urn:microsoft.com/office/officeart/2008/layout/HorizontalMultiLevelHierarchy"/>
    <dgm:cxn modelId="{69452DF4-DBCE-4D79-B5CE-F85C65FF6E4D}" type="presParOf" srcId="{3A25212D-D33F-4DBF-9663-67B86912D682}" destId="{3A632F90-4A16-4DC3-A550-34A86BD72BCF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30D7F6F-8A6A-4E93-8E12-B0157F50B9F3}">
      <dsp:nvSpPr>
        <dsp:cNvPr id="0" name=""/>
        <dsp:cNvSpPr/>
      </dsp:nvSpPr>
      <dsp:spPr>
        <a:xfrm>
          <a:off x="1108103" y="1324804"/>
          <a:ext cx="289006" cy="1101396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4503" y="0"/>
              </a:lnTo>
              <a:lnTo>
                <a:pt x="144503" y="1101396"/>
              </a:lnTo>
              <a:lnTo>
                <a:pt x="289006" y="1101396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224139" y="1847035"/>
        <a:ext cx="56934" cy="56934"/>
      </dsp:txXfrm>
    </dsp:sp>
    <dsp:sp modelId="{BB429E1F-1A09-411F-BB00-1E47F1DBA9AF}">
      <dsp:nvSpPr>
        <dsp:cNvPr id="0" name=""/>
        <dsp:cNvSpPr/>
      </dsp:nvSpPr>
      <dsp:spPr>
        <a:xfrm>
          <a:off x="1108103" y="1324804"/>
          <a:ext cx="289006" cy="550698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44503" y="0"/>
              </a:lnTo>
              <a:lnTo>
                <a:pt x="144503" y="550698"/>
              </a:lnTo>
              <a:lnTo>
                <a:pt x="289006" y="550698"/>
              </a:lnTo>
            </a:path>
          </a:pathLst>
        </a:custGeom>
        <a:noFill/>
        <a:ln w="12700" cap="flat" cmpd="sng" algn="ctr">
          <a:solidFill>
            <a:schemeClr val="dk2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237058" y="1584605"/>
        <a:ext cx="31096" cy="31096"/>
      </dsp:txXfrm>
    </dsp:sp>
    <dsp:sp modelId="{C445E91A-A0C2-4EE3-9E39-2FD08424CB60}">
      <dsp:nvSpPr>
        <dsp:cNvPr id="0" name=""/>
        <dsp:cNvSpPr/>
      </dsp:nvSpPr>
      <dsp:spPr>
        <a:xfrm>
          <a:off x="1108103" y="1279084"/>
          <a:ext cx="28900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289006" y="45720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245381" y="1317579"/>
        <a:ext cx="14450" cy="14450"/>
      </dsp:txXfrm>
    </dsp:sp>
    <dsp:sp modelId="{99CB2011-D2A8-463E-BAA3-AD22A5DD1DE7}">
      <dsp:nvSpPr>
        <dsp:cNvPr id="0" name=""/>
        <dsp:cNvSpPr/>
      </dsp:nvSpPr>
      <dsp:spPr>
        <a:xfrm>
          <a:off x="1108103" y="774106"/>
          <a:ext cx="289006" cy="550698"/>
        </a:xfrm>
        <a:custGeom>
          <a:avLst/>
          <a:gdLst/>
          <a:ahLst/>
          <a:cxnLst/>
          <a:rect l="0" t="0" r="0" b="0"/>
          <a:pathLst>
            <a:path>
              <a:moveTo>
                <a:pt x="0" y="550698"/>
              </a:moveTo>
              <a:lnTo>
                <a:pt x="144503" y="550698"/>
              </a:lnTo>
              <a:lnTo>
                <a:pt x="144503" y="0"/>
              </a:lnTo>
              <a:lnTo>
                <a:pt x="289006" y="0"/>
              </a:lnTo>
            </a:path>
          </a:pathLst>
        </a:custGeom>
        <a:noFill/>
        <a:ln w="28575" cap="flat" cmpd="sng" algn="ctr">
          <a:solidFill>
            <a:scrgbClr r="0" g="0" b="0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237058" y="1033907"/>
        <a:ext cx="31096" cy="31096"/>
      </dsp:txXfrm>
    </dsp:sp>
    <dsp:sp modelId="{07CF40DB-34D6-4CBE-A2CC-057F1D83E6C4}">
      <dsp:nvSpPr>
        <dsp:cNvPr id="0" name=""/>
        <dsp:cNvSpPr/>
      </dsp:nvSpPr>
      <dsp:spPr>
        <a:xfrm>
          <a:off x="1108103" y="223408"/>
          <a:ext cx="289006" cy="1101396"/>
        </a:xfrm>
        <a:custGeom>
          <a:avLst/>
          <a:gdLst/>
          <a:ahLst/>
          <a:cxnLst/>
          <a:rect l="0" t="0" r="0" b="0"/>
          <a:pathLst>
            <a:path>
              <a:moveTo>
                <a:pt x="0" y="1101396"/>
              </a:moveTo>
              <a:lnTo>
                <a:pt x="144503" y="1101396"/>
              </a:lnTo>
              <a:lnTo>
                <a:pt x="144503" y="0"/>
              </a:lnTo>
              <a:lnTo>
                <a:pt x="289006" y="0"/>
              </a:lnTo>
            </a:path>
          </a:pathLst>
        </a:custGeom>
        <a:noFill/>
        <a:ln w="28575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500" kern="1200"/>
        </a:p>
      </dsp:txBody>
      <dsp:txXfrm>
        <a:off x="1224139" y="745639"/>
        <a:ext cx="56934" cy="56934"/>
      </dsp:txXfrm>
    </dsp:sp>
    <dsp:sp modelId="{FC0CA611-ACE8-47E4-9D8F-E5C1F950ECF6}">
      <dsp:nvSpPr>
        <dsp:cNvPr id="0" name=""/>
        <dsp:cNvSpPr/>
      </dsp:nvSpPr>
      <dsp:spPr>
        <a:xfrm rot="16200000">
          <a:off x="-604089" y="771976"/>
          <a:ext cx="2318728" cy="1105656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lvl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pl-PL" sz="1600" kern="1200" dirty="0"/>
        </a:p>
      </dsp:txBody>
      <dsp:txXfrm>
        <a:off x="-604089" y="771976"/>
        <a:ext cx="2318728" cy="1105656"/>
      </dsp:txXfrm>
    </dsp:sp>
    <dsp:sp modelId="{BA77E8D3-52A9-49DD-B0D1-F1ABE72DF7F2}">
      <dsp:nvSpPr>
        <dsp:cNvPr id="0" name=""/>
        <dsp:cNvSpPr/>
      </dsp:nvSpPr>
      <dsp:spPr>
        <a:xfrm>
          <a:off x="1397109" y="3129"/>
          <a:ext cx="2024865" cy="440558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>
              <a:solidFill>
                <a:schemeClr val="bg1"/>
              </a:solidFill>
            </a:rPr>
            <a:t>TGE</a:t>
          </a:r>
          <a:endParaRPr lang="pl-PL" sz="1200" kern="1200" dirty="0">
            <a:solidFill>
              <a:schemeClr val="bg1"/>
            </a:solidFill>
          </a:endParaRPr>
        </a:p>
      </dsp:txBody>
      <dsp:txXfrm>
        <a:off x="1397109" y="3129"/>
        <a:ext cx="2024865" cy="440558"/>
      </dsp:txXfrm>
    </dsp:sp>
    <dsp:sp modelId="{FC1915F7-E1F5-40F3-B46D-65B219FD5C5C}">
      <dsp:nvSpPr>
        <dsp:cNvPr id="0" name=""/>
        <dsp:cNvSpPr/>
      </dsp:nvSpPr>
      <dsp:spPr>
        <a:xfrm>
          <a:off x="1397109" y="553827"/>
          <a:ext cx="2024865" cy="440558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>
              <a:solidFill>
                <a:schemeClr val="bg1"/>
              </a:solidFill>
            </a:rPr>
            <a:t>GAZ - SYSTEM</a:t>
          </a:r>
          <a:endParaRPr lang="pl-PL" sz="1200" kern="1200" dirty="0">
            <a:solidFill>
              <a:schemeClr val="bg1"/>
            </a:solidFill>
          </a:endParaRPr>
        </a:p>
      </dsp:txBody>
      <dsp:txXfrm>
        <a:off x="1397109" y="553827"/>
        <a:ext cx="2024865" cy="440558"/>
      </dsp:txXfrm>
    </dsp:sp>
    <dsp:sp modelId="{183F9F80-CDFF-4C67-842E-C91D82BCE571}">
      <dsp:nvSpPr>
        <dsp:cNvPr id="0" name=""/>
        <dsp:cNvSpPr/>
      </dsp:nvSpPr>
      <dsp:spPr>
        <a:xfrm>
          <a:off x="1397109" y="1104525"/>
          <a:ext cx="2024865" cy="440558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>
              <a:solidFill>
                <a:schemeClr val="bg1"/>
              </a:solidFill>
            </a:rPr>
            <a:t>IRGiT</a:t>
          </a:r>
          <a:endParaRPr lang="pl-PL" sz="1200" kern="1200" dirty="0">
            <a:solidFill>
              <a:schemeClr val="bg1"/>
            </a:solidFill>
          </a:endParaRPr>
        </a:p>
      </dsp:txBody>
      <dsp:txXfrm>
        <a:off x="1397109" y="1104525"/>
        <a:ext cx="2024865" cy="440558"/>
      </dsp:txXfrm>
    </dsp:sp>
    <dsp:sp modelId="{F0A6DFBD-0D15-4B0A-BF45-A06419A923AF}">
      <dsp:nvSpPr>
        <dsp:cNvPr id="0" name=""/>
        <dsp:cNvSpPr/>
      </dsp:nvSpPr>
      <dsp:spPr>
        <a:xfrm>
          <a:off x="1397109" y="1655223"/>
          <a:ext cx="2024865" cy="440558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>
              <a:solidFill>
                <a:schemeClr val="bg1"/>
              </a:solidFill>
            </a:rPr>
            <a:t>MAGAZYNY GAZU</a:t>
          </a:r>
          <a:endParaRPr lang="pl-PL" sz="1200" kern="1200" dirty="0">
            <a:solidFill>
              <a:schemeClr val="bg1"/>
            </a:solidFill>
          </a:endParaRPr>
        </a:p>
      </dsp:txBody>
      <dsp:txXfrm>
        <a:off x="1397109" y="1655223"/>
        <a:ext cx="2024865" cy="440558"/>
      </dsp:txXfrm>
    </dsp:sp>
    <dsp:sp modelId="{313DA619-E820-4E62-A26E-A6B75EDCF6CA}">
      <dsp:nvSpPr>
        <dsp:cNvPr id="0" name=""/>
        <dsp:cNvSpPr/>
      </dsp:nvSpPr>
      <dsp:spPr>
        <a:xfrm>
          <a:off x="1397109" y="2205921"/>
          <a:ext cx="2024865" cy="440558"/>
        </a:xfrm>
        <a:prstGeom prst="rect">
          <a:avLst/>
        </a:prstGeom>
        <a:solidFill>
          <a:srgbClr val="646567"/>
        </a:solidFill>
        <a:ln>
          <a:noFill/>
        </a:ln>
        <a:effectLst/>
        <a:scene3d>
          <a:camera prst="orthographicFront"/>
          <a:lightRig rig="flat" dir="t"/>
        </a:scene3d>
        <a:sp3d prstMaterial="dkEdge">
          <a:bevelT w="8200" h="38100"/>
        </a:sp3d>
      </dsp:spPr>
      <dsp:style>
        <a:lnRef idx="0">
          <a:scrgbClr r="0" g="0" b="0"/>
        </a:lnRef>
        <a:fillRef idx="2">
          <a:scrgbClr r="0" g="0" b="0"/>
        </a:fillRef>
        <a:effectRef idx="1">
          <a:scrgbClr r="0" g="0" b="0"/>
        </a:effectRef>
        <a:fontRef idx="minor">
          <a:schemeClr val="dk1"/>
        </a:fontRef>
      </dsp:style>
      <dsp:txBody>
        <a:bodyPr spcFirstLastPara="0" vert="horz" wrap="square" lIns="7620" tIns="7620" rIns="7620" bIns="7620" numCol="1" spcCol="1270" anchor="ctr" anchorCtr="0">
          <a:noAutofit/>
        </a:bodyPr>
        <a:lstStyle/>
        <a:p>
          <a:pPr lvl="0" algn="ctr" defTabSz="533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pl-PL" sz="1200" kern="1200" dirty="0" smtClean="0">
              <a:solidFill>
                <a:schemeClr val="bg1"/>
              </a:solidFill>
            </a:rPr>
            <a:t>UCZESTNICY RYNKU - USŁUGODAWCY</a:t>
          </a:r>
          <a:endParaRPr lang="pl-PL" sz="1200" kern="1200" dirty="0">
            <a:solidFill>
              <a:schemeClr val="bg1"/>
            </a:solidFill>
          </a:endParaRPr>
        </a:p>
      </dsp:txBody>
      <dsp:txXfrm>
        <a:off x="1397109" y="2205921"/>
        <a:ext cx="2024865" cy="4405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3">
  <dgm:title val=""/>
  <dgm:desc val=""/>
  <dgm:catLst>
    <dgm:cat type="simple" pri="10300"/>
  </dgm:catLst>
  <dgm:scene3d>
    <a:camera prst="orthographicFront"/>
    <a:lightRig rig="threePt" dir="t"/>
  </dgm:scene3d>
  <dgm:styleLbl name="node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lnNode1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dk1"/>
      </a:fontRef>
    </dgm:style>
  </dgm:styleLbl>
  <dgm:styleLbl name="venn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node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1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2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3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asst4">
    <dgm:scene3d>
      <a:camera prst="orthographicFront"/>
      <a:lightRig rig="flat" dir="t"/>
    </dgm:scene3d>
    <dgm:sp3d prstMaterial="dkEdge">
      <a:bevelT w="8200" h="38100"/>
    </dgm:sp3d>
    <dgm:txPr/>
    <dgm:style>
      <a:lnRef idx="0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>
        <a:schemeClr val="dk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2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flat" dir="t"/>
    </dgm:scene3d>
    <dgm:sp3d prstMaterial="dkEdge">
      <a:bevelT w="8200" h="38100"/>
    </dgm:sp3d>
    <dgm:txPr/>
    <dgm:style>
      <a:lnRef idx="1">
        <a:scrgbClr r="0" g="0" b="0"/>
      </a:lnRef>
      <a:fillRef idx="2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437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615" y="1"/>
            <a:ext cx="4301437" cy="3397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F167BE5E-4EB7-4DD9-8FC8-6C50062E48BF}" type="datetime1">
              <a:rPr lang="en-US" smtClean="0"/>
              <a:t>15.05.2016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6456364"/>
            <a:ext cx="4301437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615" y="6456364"/>
            <a:ext cx="4301437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58D1EDB-0D4E-4C7E-9F39-ECD312F76ABB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2712987175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1437" cy="3397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3615" y="1"/>
            <a:ext cx="4301437" cy="3397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fld id="{D57C053D-8A97-4DC0-BA5B-3970B682EC13}" type="datetime1">
              <a:rPr lang="en-US" smtClean="0"/>
              <a:t>15.05.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155950" y="509588"/>
            <a:ext cx="3614738" cy="25495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 smtClean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029" y="3228976"/>
            <a:ext cx="7942580" cy="3059113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noProof="0" smtClean="0"/>
              <a:t>Click to edit Master text styles</a:t>
            </a:r>
          </a:p>
          <a:p>
            <a:pPr lvl="1"/>
            <a:r>
              <a:rPr lang="pl-PL" altLang="pl-PL" noProof="0" smtClean="0"/>
              <a:t>Second level</a:t>
            </a:r>
          </a:p>
          <a:p>
            <a:pPr lvl="2"/>
            <a:r>
              <a:rPr lang="pl-PL" altLang="pl-PL" noProof="0" smtClean="0"/>
              <a:t>Third level</a:t>
            </a:r>
          </a:p>
          <a:p>
            <a:pPr lvl="3"/>
            <a:r>
              <a:rPr lang="pl-PL" altLang="pl-PL" noProof="0" smtClean="0"/>
              <a:t>Fourth level</a:t>
            </a:r>
          </a:p>
          <a:p>
            <a:pPr lvl="4"/>
            <a:r>
              <a:rPr lang="pl-PL" altLang="pl-PL" noProof="0" smtClean="0"/>
              <a:t>Fifth level</a:t>
            </a:r>
            <a:endParaRPr lang="en-US" altLang="pl-PL" noProof="0" smtClean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364"/>
            <a:ext cx="4301437" cy="3397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defTabSz="367502" eaLnBrk="1" hangingPunct="1">
              <a:defRPr sz="1200">
                <a:latin typeface="Times New Roman" charset="0"/>
                <a:ea typeface="ＭＳ Ｐゴシック" charset="0"/>
                <a:cs typeface="ＭＳ Ｐゴシック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3615" y="6456364"/>
            <a:ext cx="4301437" cy="339725"/>
          </a:xfrm>
          <a:prstGeom prst="rect">
            <a:avLst/>
          </a:prstGeom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7FE9509-C34E-4234-9E90-9A1C0DC2EC8F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3275113843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algn="l" defTabSz="36671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ＭＳ Ｐゴシック" charset="0"/>
        <a:cs typeface="ＭＳ Ｐゴシック" charset="0"/>
      </a:defRPr>
    </a:lvl1pPr>
    <a:lvl2pPr marL="366713" algn="l" defTabSz="36671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ＭＳ Ｐゴシック" charset="0"/>
        <a:cs typeface="+mn-cs"/>
      </a:defRPr>
    </a:lvl2pPr>
    <a:lvl3pPr marL="733425" algn="l" defTabSz="36671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ＭＳ Ｐゴシック" charset="0"/>
        <a:cs typeface="+mn-cs"/>
      </a:defRPr>
    </a:lvl3pPr>
    <a:lvl4pPr marL="1101725" algn="l" defTabSz="36671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ＭＳ Ｐゴシック" charset="0"/>
        <a:cs typeface="+mn-cs"/>
      </a:defRPr>
    </a:lvl4pPr>
    <a:lvl5pPr marL="1468438" algn="l" defTabSz="366713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+mn-lt"/>
        <a:ea typeface="ＭＳ Ｐゴシック" charset="0"/>
        <a:cs typeface="+mn-cs"/>
      </a:defRPr>
    </a:lvl5pPr>
    <a:lvl6pPr marL="1837509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6pPr>
    <a:lvl7pPr marL="2205012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7pPr>
    <a:lvl8pPr marL="2572513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8pPr>
    <a:lvl9pPr marL="2940015" algn="l" defTabSz="367502" rtl="0" eaLnBrk="1" latinLnBrk="0" hangingPunct="1">
      <a:defRPr sz="98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8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8.vml"/><Relationship Id="rId2" Type="http://schemas.openxmlformats.org/officeDocument/2006/relationships/tags" Target="../tags/tag1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4" Type="http://schemas.openxmlformats.org/officeDocument/2006/relationships/oleObject" Target="../embeddings/oleObject9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9.vml"/><Relationship Id="rId2" Type="http://schemas.openxmlformats.org/officeDocument/2006/relationships/tags" Target="../tags/tag1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8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1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1.vml"/><Relationship Id="rId2" Type="http://schemas.openxmlformats.org/officeDocument/2006/relationships/tags" Target="../tags/tag19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2.vml"/><Relationship Id="rId2" Type="http://schemas.openxmlformats.org/officeDocument/2006/relationships/tags" Target="../tags/tag2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3.vml"/><Relationship Id="rId2" Type="http://schemas.openxmlformats.org/officeDocument/2006/relationships/tags" Target="../tags/tag2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4" Type="http://schemas.openxmlformats.org/officeDocument/2006/relationships/tags" Target="../tags/tag24.xml"/><Relationship Id="rId5" Type="http://schemas.openxmlformats.org/officeDocument/2006/relationships/tags" Target="../tags/tag25.xml"/><Relationship Id="rId6" Type="http://schemas.openxmlformats.org/officeDocument/2006/relationships/slideMaster" Target="../slideMasters/slideMaster5.xml"/><Relationship Id="rId7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2" Type="http://schemas.openxmlformats.org/officeDocument/2006/relationships/tags" Target="../tags/tag2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4" Type="http://schemas.openxmlformats.org/officeDocument/2006/relationships/tags" Target="../tags/tag28.xml"/><Relationship Id="rId5" Type="http://schemas.openxmlformats.org/officeDocument/2006/relationships/tags" Target="../tags/tag29.xml"/><Relationship Id="rId6" Type="http://schemas.openxmlformats.org/officeDocument/2006/relationships/tags" Target="../tags/tag30.xml"/><Relationship Id="rId7" Type="http://schemas.openxmlformats.org/officeDocument/2006/relationships/slideMaster" Target="../slideMasters/slideMaster5.xml"/><Relationship Id="rId8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2" Type="http://schemas.openxmlformats.org/officeDocument/2006/relationships/tags" Target="../tags/tag2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16.vml"/><Relationship Id="rId2" Type="http://schemas.openxmlformats.org/officeDocument/2006/relationships/tags" Target="../tags/tag3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7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7.vml"/><Relationship Id="rId2" Type="http://schemas.openxmlformats.org/officeDocument/2006/relationships/tags" Target="../tags/tag3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8.vml"/><Relationship Id="rId2" Type="http://schemas.openxmlformats.org/officeDocument/2006/relationships/tags" Target="../tags/tag3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19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9.vml"/><Relationship Id="rId2" Type="http://schemas.openxmlformats.org/officeDocument/2006/relationships/tags" Target="../tags/tag3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0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0.vml"/><Relationship Id="rId2" Type="http://schemas.openxmlformats.org/officeDocument/2006/relationships/tags" Target="../tags/tag35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1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1.vml"/><Relationship Id="rId2" Type="http://schemas.openxmlformats.org/officeDocument/2006/relationships/tags" Target="../tags/tag3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2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2.vml"/><Relationship Id="rId2" Type="http://schemas.openxmlformats.org/officeDocument/2006/relationships/tags" Target="../tags/tag37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3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3.vml"/><Relationship Id="rId2" Type="http://schemas.openxmlformats.org/officeDocument/2006/relationships/tags" Target="../tags/tag3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4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4.vml"/><Relationship Id="rId2" Type="http://schemas.openxmlformats.org/officeDocument/2006/relationships/tags" Target="../tags/tag39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5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5.vml"/><Relationship Id="rId2" Type="http://schemas.openxmlformats.org/officeDocument/2006/relationships/tags" Target="../tags/tag40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6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6.vml"/><Relationship Id="rId2" Type="http://schemas.openxmlformats.org/officeDocument/2006/relationships/tags" Target="../tags/tag4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7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7.vml"/><Relationship Id="rId2" Type="http://schemas.openxmlformats.org/officeDocument/2006/relationships/tags" Target="../tags/tag4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1.vml"/><Relationship Id="rId2" Type="http://schemas.openxmlformats.org/officeDocument/2006/relationships/tags" Target="../tags/tag2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4" Type="http://schemas.openxmlformats.org/officeDocument/2006/relationships/oleObject" Target="../embeddings/oleObject28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8.vml"/><Relationship Id="rId2" Type="http://schemas.openxmlformats.org/officeDocument/2006/relationships/tags" Target="../tags/tag4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29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9.vml"/><Relationship Id="rId2" Type="http://schemas.openxmlformats.org/officeDocument/2006/relationships/tags" Target="../tags/tag44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0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0.vml"/><Relationship Id="rId2" Type="http://schemas.openxmlformats.org/officeDocument/2006/relationships/tags" Target="../tags/tag45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1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1.vml"/><Relationship Id="rId2" Type="http://schemas.openxmlformats.org/officeDocument/2006/relationships/tags" Target="../tags/tag46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2.vml"/><Relationship Id="rId2" Type="http://schemas.openxmlformats.org/officeDocument/2006/relationships/tags" Target="../tags/tag47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4" Type="http://schemas.openxmlformats.org/officeDocument/2006/relationships/tags" Target="../tags/tag50.xml"/><Relationship Id="rId5" Type="http://schemas.openxmlformats.org/officeDocument/2006/relationships/tags" Target="../tags/tag51.xml"/><Relationship Id="rId6" Type="http://schemas.openxmlformats.org/officeDocument/2006/relationships/slideMaster" Target="../slideMasters/slideMaster6.xml"/><Relationship Id="rId7" Type="http://schemas.openxmlformats.org/officeDocument/2006/relationships/oleObject" Target="../embeddings/oleObject33.bin"/><Relationship Id="rId1" Type="http://schemas.openxmlformats.org/officeDocument/2006/relationships/vmlDrawing" Target="../drawings/vmlDrawing33.vml"/><Relationship Id="rId2" Type="http://schemas.openxmlformats.org/officeDocument/2006/relationships/tags" Target="../tags/tag48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4" Type="http://schemas.openxmlformats.org/officeDocument/2006/relationships/tags" Target="../tags/tag54.xml"/><Relationship Id="rId5" Type="http://schemas.openxmlformats.org/officeDocument/2006/relationships/tags" Target="../tags/tag55.xml"/><Relationship Id="rId6" Type="http://schemas.openxmlformats.org/officeDocument/2006/relationships/tags" Target="../tags/tag56.xml"/><Relationship Id="rId7" Type="http://schemas.openxmlformats.org/officeDocument/2006/relationships/slideMaster" Target="../slideMasters/slideMaster6.xml"/><Relationship Id="rId8" Type="http://schemas.openxmlformats.org/officeDocument/2006/relationships/oleObject" Target="../embeddings/oleObject34.bin"/><Relationship Id="rId1" Type="http://schemas.openxmlformats.org/officeDocument/2006/relationships/vmlDrawing" Target="../drawings/vmlDrawing34.vml"/><Relationship Id="rId2" Type="http://schemas.openxmlformats.org/officeDocument/2006/relationships/tags" Target="../tags/tag5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5.vml"/><Relationship Id="rId2" Type="http://schemas.openxmlformats.org/officeDocument/2006/relationships/tags" Target="../tags/tag57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6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6.vml"/><Relationship Id="rId2" Type="http://schemas.openxmlformats.org/officeDocument/2006/relationships/tags" Target="../tags/tag58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7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7.vml"/><Relationship Id="rId2" Type="http://schemas.openxmlformats.org/officeDocument/2006/relationships/tags" Target="../tags/tag59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8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8.vml"/><Relationship Id="rId2" Type="http://schemas.openxmlformats.org/officeDocument/2006/relationships/tags" Target="../tags/tag60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39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9.vml"/><Relationship Id="rId2" Type="http://schemas.openxmlformats.org/officeDocument/2006/relationships/tags" Target="../tags/tag6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40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0.vml"/><Relationship Id="rId2" Type="http://schemas.openxmlformats.org/officeDocument/2006/relationships/tags" Target="../tags/tag6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41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1.vml"/><Relationship Id="rId2" Type="http://schemas.openxmlformats.org/officeDocument/2006/relationships/tags" Target="../tags/tag6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42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2.vml"/><Relationship Id="rId2" Type="http://schemas.openxmlformats.org/officeDocument/2006/relationships/tags" Target="../tags/tag6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4" Type="http://schemas.openxmlformats.org/officeDocument/2006/relationships/oleObject" Target="../embeddings/oleObject43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3.vml"/><Relationship Id="rId2" Type="http://schemas.openxmlformats.org/officeDocument/2006/relationships/tags" Target="../tags/tag65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4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4.vml"/><Relationship Id="rId2" Type="http://schemas.openxmlformats.org/officeDocument/2006/relationships/tags" Target="../tags/tag66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5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5.vml"/><Relationship Id="rId2" Type="http://schemas.openxmlformats.org/officeDocument/2006/relationships/tags" Target="../tags/tag67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6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6.vml"/><Relationship Id="rId2" Type="http://schemas.openxmlformats.org/officeDocument/2006/relationships/tags" Target="../tags/tag68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4" Type="http://schemas.openxmlformats.org/officeDocument/2006/relationships/oleObject" Target="../embeddings/oleObject47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7.vml"/><Relationship Id="rId2" Type="http://schemas.openxmlformats.org/officeDocument/2006/relationships/tags" Target="../tags/tag69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tags" Target="../tags/tag70.xml"/><Relationship Id="rId2" Type="http://schemas.openxmlformats.org/officeDocument/2006/relationships/tags" Target="../tags/tag71.xml"/><Relationship Id="rId3" Type="http://schemas.openxmlformats.org/officeDocument/2006/relationships/slideMaster" Target="../slideMasters/slideMaster8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8.bin"/><Relationship Id="rId5" Type="http://schemas.openxmlformats.org/officeDocument/2006/relationships/image" Target="../media/image3.emf"/><Relationship Id="rId6" Type="http://schemas.openxmlformats.org/officeDocument/2006/relationships/image" Target="../media/image7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8.vml"/><Relationship Id="rId2" Type="http://schemas.openxmlformats.org/officeDocument/2006/relationships/tags" Target="../tags/tag7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49.bin"/><Relationship Id="rId5" Type="http://schemas.openxmlformats.org/officeDocument/2006/relationships/image" Target="../media/image3.emf"/><Relationship Id="rId6" Type="http://schemas.openxmlformats.org/officeDocument/2006/relationships/image" Target="../media/image7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49.vml"/><Relationship Id="rId2" Type="http://schemas.openxmlformats.org/officeDocument/2006/relationships/tags" Target="../tags/tag73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0.bin"/><Relationship Id="rId5" Type="http://schemas.openxmlformats.org/officeDocument/2006/relationships/image" Target="../media/image3.emf"/><Relationship Id="rId6" Type="http://schemas.openxmlformats.org/officeDocument/2006/relationships/image" Target="../media/image7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0.vml"/><Relationship Id="rId2" Type="http://schemas.openxmlformats.org/officeDocument/2006/relationships/tags" Target="../tags/tag7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1.bin"/><Relationship Id="rId5" Type="http://schemas.openxmlformats.org/officeDocument/2006/relationships/image" Target="../media/image3.emf"/><Relationship Id="rId6" Type="http://schemas.openxmlformats.org/officeDocument/2006/relationships/image" Target="../media/image7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1.vml"/><Relationship Id="rId2" Type="http://schemas.openxmlformats.org/officeDocument/2006/relationships/tags" Target="../tags/tag7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77.xml"/><Relationship Id="rId4" Type="http://schemas.openxmlformats.org/officeDocument/2006/relationships/tags" Target="../tags/tag78.xml"/><Relationship Id="rId5" Type="http://schemas.openxmlformats.org/officeDocument/2006/relationships/tags" Target="../tags/tag79.xml"/><Relationship Id="rId6" Type="http://schemas.openxmlformats.org/officeDocument/2006/relationships/slideMaster" Target="../slideMasters/slideMaster9.xml"/><Relationship Id="rId7" Type="http://schemas.openxmlformats.org/officeDocument/2006/relationships/oleObject" Target="../embeddings/oleObject52.bin"/><Relationship Id="rId1" Type="http://schemas.openxmlformats.org/officeDocument/2006/relationships/vmlDrawing" Target="../drawings/vmlDrawing52.vml"/><Relationship Id="rId2" Type="http://schemas.openxmlformats.org/officeDocument/2006/relationships/tags" Target="../tags/tag76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81.xml"/><Relationship Id="rId4" Type="http://schemas.openxmlformats.org/officeDocument/2006/relationships/tags" Target="../tags/tag82.xml"/><Relationship Id="rId5" Type="http://schemas.openxmlformats.org/officeDocument/2006/relationships/tags" Target="../tags/tag83.xml"/><Relationship Id="rId6" Type="http://schemas.openxmlformats.org/officeDocument/2006/relationships/tags" Target="../tags/tag84.xml"/><Relationship Id="rId7" Type="http://schemas.openxmlformats.org/officeDocument/2006/relationships/slideMaster" Target="../slideMasters/slideMaster9.xml"/><Relationship Id="rId8" Type="http://schemas.openxmlformats.org/officeDocument/2006/relationships/oleObject" Target="../embeddings/oleObject53.bin"/><Relationship Id="rId1" Type="http://schemas.openxmlformats.org/officeDocument/2006/relationships/vmlDrawing" Target="../drawings/vmlDrawing53.vml"/><Relationship Id="rId2" Type="http://schemas.openxmlformats.org/officeDocument/2006/relationships/tags" Target="../tags/tag80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4.vml"/><Relationship Id="rId2" Type="http://schemas.openxmlformats.org/officeDocument/2006/relationships/tags" Target="../tags/tag8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5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5.vml"/><Relationship Id="rId2" Type="http://schemas.openxmlformats.org/officeDocument/2006/relationships/tags" Target="../tags/tag8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6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6.vml"/><Relationship Id="rId2" Type="http://schemas.openxmlformats.org/officeDocument/2006/relationships/tags" Target="../tags/tag8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slideMaster" Target="../slideMasters/slideMaster2.xml"/><Relationship Id="rId7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7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7.vml"/><Relationship Id="rId2" Type="http://schemas.openxmlformats.org/officeDocument/2006/relationships/tags" Target="../tags/tag88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8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8.vml"/><Relationship Id="rId2" Type="http://schemas.openxmlformats.org/officeDocument/2006/relationships/tags" Target="../tags/tag89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4" Type="http://schemas.openxmlformats.org/officeDocument/2006/relationships/oleObject" Target="../embeddings/oleObject59.bin"/><Relationship Id="rId5" Type="http://schemas.openxmlformats.org/officeDocument/2006/relationships/image" Target="../media/image3.emf"/><Relationship Id="rId6" Type="http://schemas.openxmlformats.org/officeDocument/2006/relationships/image" Target="../media/image8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59.vml"/><Relationship Id="rId2" Type="http://schemas.openxmlformats.org/officeDocument/2006/relationships/tags" Target="../tags/tag90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tags" Target="../tags/tag91.xml"/><Relationship Id="rId2" Type="http://schemas.openxmlformats.org/officeDocument/2006/relationships/tags" Target="../tags/tag92.xml"/><Relationship Id="rId3" Type="http://schemas.openxmlformats.org/officeDocument/2006/relationships/slideMaster" Target="../slideMasters/slideMaster10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4" Type="http://schemas.openxmlformats.org/officeDocument/2006/relationships/oleObject" Target="../embeddings/oleObject60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0.vml"/><Relationship Id="rId2" Type="http://schemas.openxmlformats.org/officeDocument/2006/relationships/tags" Target="../tags/tag9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tags" Target="../tags/tag94.xml"/><Relationship Id="rId2" Type="http://schemas.openxmlformats.org/officeDocument/2006/relationships/tags" Target="../tags/tag95.xml"/><Relationship Id="rId3" Type="http://schemas.openxmlformats.org/officeDocument/2006/relationships/slideMaster" Target="../slideMasters/slideMaster11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1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1.vml"/><Relationship Id="rId2" Type="http://schemas.openxmlformats.org/officeDocument/2006/relationships/tags" Target="../tags/tag96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2.vml"/><Relationship Id="rId2" Type="http://schemas.openxmlformats.org/officeDocument/2006/relationships/tags" Target="../tags/tag97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3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3.vml"/><Relationship Id="rId2" Type="http://schemas.openxmlformats.org/officeDocument/2006/relationships/tags" Target="../tags/tag98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4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4.vml"/><Relationship Id="rId2" Type="http://schemas.openxmlformats.org/officeDocument/2006/relationships/tags" Target="../tags/tag99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4" Type="http://schemas.openxmlformats.org/officeDocument/2006/relationships/tags" Target="../tags/tag11.xml"/><Relationship Id="rId5" Type="http://schemas.openxmlformats.org/officeDocument/2006/relationships/tags" Target="../tags/tag12.xml"/><Relationship Id="rId6" Type="http://schemas.openxmlformats.org/officeDocument/2006/relationships/tags" Target="../tags/tag13.xml"/><Relationship Id="rId7" Type="http://schemas.openxmlformats.org/officeDocument/2006/relationships/slideMaster" Target="../slideMasters/slideMaster2.xml"/><Relationship Id="rId8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9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4" Type="http://schemas.openxmlformats.org/officeDocument/2006/relationships/tags" Target="../tags/tag102.xml"/><Relationship Id="rId5" Type="http://schemas.openxmlformats.org/officeDocument/2006/relationships/slideMaster" Target="../slideMasters/slideMaster12.xml"/><Relationship Id="rId6" Type="http://schemas.openxmlformats.org/officeDocument/2006/relationships/oleObject" Target="../embeddings/oleObject65.bin"/><Relationship Id="rId1" Type="http://schemas.openxmlformats.org/officeDocument/2006/relationships/vmlDrawing" Target="../drawings/vmlDrawing65.vml"/><Relationship Id="rId2" Type="http://schemas.openxmlformats.org/officeDocument/2006/relationships/tags" Target="../tags/tag100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tags" Target="../tags/tag104.xml"/><Relationship Id="rId4" Type="http://schemas.openxmlformats.org/officeDocument/2006/relationships/tags" Target="../tags/tag105.xml"/><Relationship Id="rId5" Type="http://schemas.openxmlformats.org/officeDocument/2006/relationships/slideMaster" Target="../slideMasters/slideMaster12.xml"/><Relationship Id="rId6" Type="http://schemas.openxmlformats.org/officeDocument/2006/relationships/oleObject" Target="../embeddings/oleObject66.bin"/><Relationship Id="rId1" Type="http://schemas.openxmlformats.org/officeDocument/2006/relationships/vmlDrawing" Target="../drawings/vmlDrawing66.vml"/><Relationship Id="rId2" Type="http://schemas.openxmlformats.org/officeDocument/2006/relationships/tags" Target="../tags/tag10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7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7.vml"/><Relationship Id="rId2" Type="http://schemas.openxmlformats.org/officeDocument/2006/relationships/tags" Target="../tags/tag106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8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8.vml"/><Relationship Id="rId2" Type="http://schemas.openxmlformats.org/officeDocument/2006/relationships/tags" Target="../tags/tag107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69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69.vml"/><Relationship Id="rId2" Type="http://schemas.openxmlformats.org/officeDocument/2006/relationships/tags" Target="../tags/tag108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70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0.vml"/><Relationship Id="rId2" Type="http://schemas.openxmlformats.org/officeDocument/2006/relationships/tags" Target="../tags/tag109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4" Type="http://schemas.openxmlformats.org/officeDocument/2006/relationships/oleObject" Target="../embeddings/oleObject71.bin"/><Relationship Id="rId5" Type="http://schemas.openxmlformats.org/officeDocument/2006/relationships/image" Target="../media/image3.emf"/><Relationship Id="rId6" Type="http://schemas.openxmlformats.org/officeDocument/2006/relationships/image" Target="../media/image6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1.vml"/><Relationship Id="rId2" Type="http://schemas.openxmlformats.org/officeDocument/2006/relationships/tags" Target="../tags/tag110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72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2.vml"/><Relationship Id="rId2" Type="http://schemas.openxmlformats.org/officeDocument/2006/relationships/tags" Target="../tags/tag11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73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3.vml"/><Relationship Id="rId2" Type="http://schemas.openxmlformats.org/officeDocument/2006/relationships/tags" Target="../tags/tag112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6.vml"/><Relationship Id="rId2" Type="http://schemas.openxmlformats.org/officeDocument/2006/relationships/tags" Target="../tags/tag14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74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4.vml"/><Relationship Id="rId2" Type="http://schemas.openxmlformats.org/officeDocument/2006/relationships/tags" Target="../tags/tag11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4" Type="http://schemas.openxmlformats.org/officeDocument/2006/relationships/oleObject" Target="../embeddings/oleObject75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5.vml"/><Relationship Id="rId2" Type="http://schemas.openxmlformats.org/officeDocument/2006/relationships/tags" Target="../tags/tag11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4" Type="http://schemas.openxmlformats.org/officeDocument/2006/relationships/oleObject" Target="../embeddings/oleObject7.bin"/><Relationship Id="rId5" Type="http://schemas.openxmlformats.org/officeDocument/2006/relationships/image" Target="../media/image3.emf"/><Relationship Id="rId6" Type="http://schemas.openxmlformats.org/officeDocument/2006/relationships/image" Target="../media/image2.png"/><Relationship Id="rId7" Type="http://schemas.openxmlformats.org/officeDocument/2006/relationships/image" Target="../media/image4.png"/><Relationship Id="rId1" Type="http://schemas.openxmlformats.org/officeDocument/2006/relationships/vmlDrawing" Target="../drawings/vmlDrawing7.vml"/><Relationship Id="rId2" Type="http://schemas.openxmlformats.org/officeDocument/2006/relationships/tags" Target="../tags/tag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ymbol zastępczy tekstu 7"/>
          <p:cNvSpPr>
            <a:spLocks noGrp="1"/>
          </p:cNvSpPr>
          <p:nvPr>
            <p:ph type="body" sz="quarter" idx="10"/>
          </p:nvPr>
        </p:nvSpPr>
        <p:spPr>
          <a:xfrm>
            <a:off x="476273" y="1035419"/>
            <a:ext cx="6730414" cy="807195"/>
          </a:xfrm>
          <a:prstGeom prst="rect">
            <a:avLst/>
          </a:prstGeom>
        </p:spPr>
        <p:txBody>
          <a:bodyPr lIns="0" bIns="0"/>
          <a:lstStyle>
            <a:lvl1pPr algn="l">
              <a:defRPr sz="2000"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>
              <a:defRPr sz="2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</a:lstStyle>
          <a:p>
            <a:pPr lvl="0"/>
            <a:r>
              <a:rPr lang="pl-PL" dirty="0" smtClean="0"/>
              <a:t>Kliknij, aby edytować style </a:t>
            </a:r>
          </a:p>
          <a:p>
            <a:pPr lvl="0"/>
            <a:r>
              <a:rPr lang="pl-PL" dirty="0" smtClean="0"/>
              <a:t>wzorca tekstu</a:t>
            </a:r>
          </a:p>
        </p:txBody>
      </p:sp>
      <p:sp>
        <p:nvSpPr>
          <p:cNvPr id="10" name="Symbol zastępczy tekstu 9"/>
          <p:cNvSpPr>
            <a:spLocks noGrp="1"/>
          </p:cNvSpPr>
          <p:nvPr>
            <p:ph type="body" sz="quarter" idx="11"/>
          </p:nvPr>
        </p:nvSpPr>
        <p:spPr>
          <a:xfrm>
            <a:off x="476273" y="2044412"/>
            <a:ext cx="3947685" cy="346842"/>
          </a:xfrm>
          <a:prstGeom prst="rect">
            <a:avLst/>
          </a:prstGeom>
        </p:spPr>
        <p:txBody>
          <a:bodyPr lIns="0" bIns="0"/>
          <a:lstStyle>
            <a:lvl1pPr algn="l">
              <a:defRPr sz="1400"/>
            </a:lvl1pPr>
          </a:lstStyle>
          <a:p>
            <a:pPr lvl="0"/>
            <a:r>
              <a:rPr lang="pl-PL" dirty="0" smtClean="0"/>
              <a:t>Kliknij, aby edytować style wzorca tekstu</a:t>
            </a:r>
          </a:p>
        </p:txBody>
      </p:sp>
    </p:spTree>
    <p:extLst>
      <p:ext uri="{BB962C8B-B14F-4D97-AF65-F5344CB8AC3E}">
        <p14:creationId xmlns:p14="http://schemas.microsoft.com/office/powerpoint/2010/main" val="173864443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64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97913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9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77587B95-B4E4-4722-BA4F-901B644F91BB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C2268A19-F770-48D3-8C9E-767C359CA30F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Rectangle 41"/>
          <p:cNvSpPr/>
          <p:nvPr userDrawn="1"/>
        </p:nvSpPr>
        <p:spPr>
          <a:xfrm>
            <a:off x="520700" y="6542088"/>
            <a:ext cx="182563" cy="185737"/>
          </a:xfrm>
          <a:prstGeom prst="rect">
            <a:avLst/>
          </a:prstGeom>
          <a:solidFill>
            <a:srgbClr val="CD09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4" name="Slide Number Placeholder 2"/>
          <p:cNvSpPr txBox="1">
            <a:spLocks/>
          </p:cNvSpPr>
          <p:nvPr userDrawn="1"/>
        </p:nvSpPr>
        <p:spPr bwMode="auto">
          <a:xfrm>
            <a:off x="457200" y="65293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13F4A0F0-3B4F-4241-9492-108A01883A35}" type="slidenum">
              <a:rPr lang="en-US" altLang="pl-PL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8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5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6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B9B8FD-684F-4A8B-BE62-0C6B8B7438C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60708987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53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69181433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5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</a:rPr>
              <a:pPr>
                <a:defRPr/>
              </a:pPr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928284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457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74003423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560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250031651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62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6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50"/>
            <a:ext cx="963132" cy="235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defTabSz="730909"/>
            <a:endParaRPr lang="en-GB" dirty="0">
              <a:latin typeface="Arial"/>
              <a:ea typeface="MS PGothic"/>
            </a:endParaRPr>
          </a:p>
        </p:txBody>
      </p:sp>
      <p:sp>
        <p:nvSpPr>
          <p:cNvPr id="7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238"/>
            <a:ext cx="90861" cy="23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 defTabSz="730909"/>
            <a:fld id="{01940DDA-0656-452C-A408-68789653BD9B}" type="slidenum">
              <a:rPr lang="pl-PL" smtClean="0">
                <a:latin typeface="Arial"/>
                <a:ea typeface="MS PGothic"/>
              </a:rPr>
              <a:pPr defTabSz="730909"/>
              <a:t>‹nr›</a:t>
            </a:fld>
            <a:endParaRPr lang="pl-PL" dirty="0">
              <a:latin typeface="Arial"/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107697667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7651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7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49"/>
            <a:ext cx="963132" cy="239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049"/>
            <a:ext cx="90861" cy="239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pl-PL" smtClean="0"/>
              <a:pPr/>
              <a:t>‹nr›</a:t>
            </a:fld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559707" y="1502107"/>
            <a:ext cx="6514163" cy="91101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96540180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2" y="1236"/>
          <a:ext cx="1211" cy="12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675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2" y="1236"/>
                        <a:ext cx="1211" cy="12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0" y="3983"/>
            <a:ext cx="6017978" cy="762305"/>
          </a:xfrm>
          <a:prstGeom prst="rect">
            <a:avLst/>
          </a:prstGeom>
        </p:spPr>
        <p:txBody>
          <a:bodyPr anchor="ctr"/>
          <a:lstStyle>
            <a:lvl1pPr algn="l">
              <a:defRPr lang="pl-PL" sz="1831" b="1" kern="1200" dirty="0">
                <a:solidFill>
                  <a:srgbClr val="05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00082081"/>
      </p:ext>
    </p:extLst>
  </p:cSld>
  <p:clrMapOvr>
    <a:masterClrMapping/>
  </p:clrMapOvr>
  <p:transition xmlns:p14="http://schemas.microsoft.com/office/powerpoint/2010/main">
    <p:zoom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96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5297169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us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603009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72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0753451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7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28972928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78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414020965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89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48710291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99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33800405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9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09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56974702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0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19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0400931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0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5809259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09653532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50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23747900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7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60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14845270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60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50976355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939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39898393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041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</a:rPr>
              <a:pPr>
                <a:defRPr/>
              </a:pPr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701106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144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60737407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246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31624082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3489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6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50"/>
            <a:ext cx="963132" cy="235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defTabSz="730909"/>
            <a:endParaRPr lang="en-GB" dirty="0">
              <a:latin typeface="Arial"/>
              <a:ea typeface="MS PGothic"/>
            </a:endParaRPr>
          </a:p>
        </p:txBody>
      </p:sp>
      <p:sp>
        <p:nvSpPr>
          <p:cNvPr id="7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238"/>
            <a:ext cx="90861" cy="23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 defTabSz="730909"/>
            <a:fld id="{01940DDA-0656-452C-A408-68789653BD9B}" type="slidenum">
              <a:rPr lang="pl-PL" smtClean="0">
                <a:latin typeface="Arial"/>
                <a:ea typeface="MS PGothic"/>
              </a:rPr>
              <a:pPr defTabSz="730909"/>
              <a:t>‹nr›</a:t>
            </a:fld>
            <a:endParaRPr lang="pl-PL" dirty="0">
              <a:latin typeface="Arial"/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31486927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13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7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49"/>
            <a:ext cx="963132" cy="239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049"/>
            <a:ext cx="90861" cy="239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pl-PL" smtClean="0"/>
              <a:pPr/>
              <a:t>‹nr›</a:t>
            </a:fld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559707" y="1502107"/>
            <a:ext cx="6514163" cy="91101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792452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2" y="1236"/>
          <a:ext cx="1211" cy="12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553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2" y="1236"/>
                        <a:ext cx="1211" cy="12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0" y="3983"/>
            <a:ext cx="6017978" cy="762305"/>
          </a:xfrm>
          <a:prstGeom prst="rect">
            <a:avLst/>
          </a:prstGeom>
        </p:spPr>
        <p:txBody>
          <a:bodyPr anchor="ctr"/>
          <a:lstStyle>
            <a:lvl1pPr algn="l">
              <a:defRPr lang="pl-PL" sz="1831" b="1" kern="1200" dirty="0">
                <a:solidFill>
                  <a:srgbClr val="05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750538681"/>
      </p:ext>
    </p:extLst>
  </p:cSld>
  <p:clrMapOvr>
    <a:masterClrMapping/>
  </p:clrMapOvr>
  <p:transition xmlns:p14="http://schemas.microsoft.com/office/powerpoint/2010/main">
    <p:zoom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656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06933048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758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49660535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8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14082843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86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22905682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577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09365702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680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67662371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782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83909499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84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7482296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87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3383669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396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42884058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8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</a:rPr>
              <a:pPr>
                <a:defRPr/>
              </a:pPr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446161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01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7697655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300213906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8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92423670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/>
                <a:gridCol w="2401198"/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7576109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05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564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564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9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564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564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9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25881379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007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94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90680" indent="-188723">
              <a:lnSpc>
                <a:spcPct val="120000"/>
              </a:lnSpc>
              <a:buFont typeface="Wingdings" panose="05000000000000000000" pitchFamily="2" charset="2"/>
              <a:buChar char="ü"/>
              <a:defRPr sz="846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92636" indent="-188723">
              <a:lnSpc>
                <a:spcPct val="120000"/>
              </a:lnSpc>
              <a:buFont typeface="Symbol" panose="05050102010706020507" pitchFamily="18" charset="2"/>
              <a:buChar char=""/>
              <a:defRPr sz="75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94594" indent="-188723">
              <a:buFont typeface="Symbol" panose="05050102010706020507" pitchFamily="18" charset="2"/>
              <a:buChar char=""/>
              <a:defRPr sz="79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9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</a:rPr>
              <a:pPr>
                <a:defRPr/>
              </a:pPr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931181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09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800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94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90680" indent="-188723">
              <a:lnSpc>
                <a:spcPct val="120000"/>
              </a:lnSpc>
              <a:buFont typeface="Wingdings" panose="05000000000000000000" pitchFamily="2" charset="2"/>
              <a:buChar char="ü"/>
              <a:defRPr sz="94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92636" indent="-188723">
              <a:lnSpc>
                <a:spcPct val="120000"/>
              </a:lnSpc>
              <a:buFont typeface="Symbol" panose="05050102010706020507" pitchFamily="18" charset="2"/>
              <a:buChar char=""/>
              <a:defRPr sz="75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94594" indent="-188723">
              <a:buFont typeface="Symbol" panose="05050102010706020507" pitchFamily="18" charset="2"/>
              <a:buChar char="¨"/>
              <a:defRPr sz="79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94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90680" indent="-188723">
              <a:lnSpc>
                <a:spcPct val="120000"/>
              </a:lnSpc>
              <a:buFont typeface="Wingdings" panose="05000000000000000000" pitchFamily="2" charset="2"/>
              <a:buChar char="ü"/>
              <a:defRPr sz="846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792636" indent="-188723">
              <a:lnSpc>
                <a:spcPct val="120000"/>
              </a:lnSpc>
              <a:buFont typeface="Symbol" panose="05050102010706020507" pitchFamily="18" charset="2"/>
              <a:buChar char=""/>
              <a:defRPr sz="75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094594" indent="-188723">
              <a:buFont typeface="Symbol" panose="05050102010706020507" pitchFamily="18" charset="2"/>
              <a:buChar char=""/>
              <a:defRPr sz="79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9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75775447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2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82416901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14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6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50"/>
            <a:ext cx="963132" cy="2218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44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defTabSz="686864"/>
            <a:endParaRPr lang="en-GB" dirty="0">
              <a:latin typeface="Arial"/>
              <a:ea typeface="MS PGothic"/>
            </a:endParaRPr>
          </a:p>
        </p:txBody>
      </p:sp>
      <p:sp>
        <p:nvSpPr>
          <p:cNvPr id="7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9" y="5335912"/>
            <a:ext cx="90861" cy="2218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4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 defTabSz="686864"/>
            <a:fld id="{01940DDA-0656-452C-A408-68789653BD9B}" type="slidenum">
              <a:rPr lang="pl-PL" smtClean="0">
                <a:latin typeface="Arial"/>
                <a:ea typeface="MS PGothic"/>
              </a:rPr>
              <a:pPr defTabSz="686864"/>
              <a:t>‹nr›</a:t>
            </a:fld>
            <a:endParaRPr lang="pl-PL" dirty="0">
              <a:latin typeface="Arial"/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3459285595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4170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7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49"/>
            <a:ext cx="963132" cy="2211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44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9" y="5335946"/>
            <a:ext cx="90861" cy="22116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44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pl-PL" smtClean="0"/>
              <a:pPr/>
              <a:t>‹nr›</a:t>
            </a:fld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559708" y="1502107"/>
            <a:ext cx="6514163" cy="832344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4170617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3" y="1237"/>
          <a:ext cx="1211" cy="12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9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3" y="1237"/>
                        <a:ext cx="1211" cy="12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1" y="3984"/>
            <a:ext cx="6017978" cy="762305"/>
          </a:xfrm>
          <a:prstGeom prst="rect">
            <a:avLst/>
          </a:prstGeom>
        </p:spPr>
        <p:txBody>
          <a:bodyPr anchor="ctr"/>
          <a:lstStyle>
            <a:lvl1pPr algn="l">
              <a:defRPr lang="pl-PL" sz="1721" b="1" kern="1200" dirty="0">
                <a:solidFill>
                  <a:srgbClr val="05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349876425"/>
      </p:ext>
    </p:extLst>
  </p:cSld>
  <p:clrMapOvr>
    <a:masterClrMapping/>
  </p:clrMapOvr>
  <p:transition xmlns:p14="http://schemas.microsoft.com/office/powerpoint/2010/main">
    <p:zoom/>
  </p:transition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91656" indent="-150637">
              <a:lnSpc>
                <a:spcPct val="120000"/>
              </a:lnSpc>
              <a:buFont typeface="Wingdings" panose="05000000000000000000" pitchFamily="2" charset="2"/>
              <a:buChar char="ü"/>
              <a:defRPr sz="67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32677" indent="-150637">
              <a:lnSpc>
                <a:spcPct val="120000"/>
              </a:lnSpc>
              <a:buFont typeface="Symbol" panose="05050102010706020507" pitchFamily="18" charset="2"/>
              <a:buChar char=""/>
              <a:defRPr sz="6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73697" indent="-150637">
              <a:buFont typeface="Symbol" panose="05050102010706020507" pitchFamily="18" charset="2"/>
              <a:buChar char=""/>
              <a:defRPr sz="63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44614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44614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05867670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26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91656" indent="-150637">
              <a:lnSpc>
                <a:spcPct val="120000"/>
              </a:lnSpc>
              <a:buFont typeface="Wingdings" panose="05000000000000000000" pitchFamily="2" charset="2"/>
              <a:buChar char="ü"/>
              <a:defRPr sz="67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32677" indent="-150637">
              <a:lnSpc>
                <a:spcPct val="120000"/>
              </a:lnSpc>
              <a:buFont typeface="Symbol" panose="05050102010706020507" pitchFamily="18" charset="2"/>
              <a:buChar char=""/>
              <a:defRPr sz="6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73697" indent="-150637">
              <a:buFont typeface="Symbol" panose="05050102010706020507" pitchFamily="18" charset="2"/>
              <a:buChar char=""/>
              <a:defRPr sz="63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44614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44614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4542715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977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6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50"/>
            <a:ext cx="963132" cy="2353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 defTabSz="730909"/>
            <a:endParaRPr lang="en-GB" dirty="0">
              <a:latin typeface="Arial"/>
              <a:ea typeface="MS PGothic"/>
            </a:endParaRPr>
          </a:p>
        </p:txBody>
      </p:sp>
      <p:sp>
        <p:nvSpPr>
          <p:cNvPr id="7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238"/>
            <a:ext cx="90861" cy="235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pPr defTabSz="730909"/>
            <a:fld id="{01940DDA-0656-452C-A408-68789653BD9B}" type="slidenum">
              <a:rPr lang="pl-PL" smtClean="0">
                <a:latin typeface="Arial"/>
                <a:ea typeface="MS PGothic"/>
              </a:rPr>
              <a:pPr defTabSz="730909"/>
              <a:t>‹nr›</a:t>
            </a:fld>
            <a:endParaRPr lang="pl-PL" dirty="0">
              <a:latin typeface="Arial"/>
              <a:ea typeface="MS PGothic"/>
            </a:endParaRPr>
          </a:p>
        </p:txBody>
      </p:sp>
    </p:spTree>
    <p:extLst>
      <p:ext uri="{BB962C8B-B14F-4D97-AF65-F5344CB8AC3E}">
        <p14:creationId xmlns:p14="http://schemas.microsoft.com/office/powerpoint/2010/main" val="2062093975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29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91656" indent="-150637">
              <a:lnSpc>
                <a:spcPct val="120000"/>
              </a:lnSpc>
              <a:buFont typeface="Wingdings" panose="05000000000000000000" pitchFamily="2" charset="2"/>
              <a:buChar char="ü"/>
              <a:defRPr sz="67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32677" indent="-150637">
              <a:lnSpc>
                <a:spcPct val="120000"/>
              </a:lnSpc>
              <a:buFont typeface="Symbol" panose="05050102010706020507" pitchFamily="18" charset="2"/>
              <a:buChar char=""/>
              <a:defRPr sz="6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73697" indent="-150637">
              <a:buFont typeface="Symbol" panose="05050102010706020507" pitchFamily="18" charset="2"/>
              <a:buChar char=""/>
              <a:defRPr sz="63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44614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44614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82473569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31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91656" indent="-150637">
              <a:lnSpc>
                <a:spcPct val="120000"/>
              </a:lnSpc>
              <a:buFont typeface="Wingdings" panose="05000000000000000000" pitchFamily="2" charset="2"/>
              <a:buChar char="ü"/>
              <a:defRPr sz="67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32677" indent="-150637">
              <a:lnSpc>
                <a:spcPct val="120000"/>
              </a:lnSpc>
              <a:buFont typeface="Symbol" panose="05050102010706020507" pitchFamily="18" charset="2"/>
              <a:buChar char=""/>
              <a:defRPr sz="6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73697" indent="-150637">
              <a:buFont typeface="Symbol" panose="05050102010706020507" pitchFamily="18" charset="2"/>
              <a:buChar char=""/>
              <a:defRPr sz="63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44614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44614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34518967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33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1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4" y="217489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9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90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5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91656" indent="-150637">
              <a:lnSpc>
                <a:spcPct val="120000"/>
              </a:lnSpc>
              <a:buFont typeface="Wingdings" panose="05000000000000000000" pitchFamily="2" charset="2"/>
              <a:buChar char="ü"/>
              <a:defRPr sz="674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32677" indent="-150637">
              <a:lnSpc>
                <a:spcPct val="120000"/>
              </a:lnSpc>
              <a:buFont typeface="Symbol" panose="05050102010706020507" pitchFamily="18" charset="2"/>
              <a:buChar char=""/>
              <a:defRPr sz="601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873697" indent="-150637">
              <a:buFont typeface="Symbol" panose="05050102010706020507" pitchFamily="18" charset="2"/>
              <a:buChar char=""/>
              <a:defRPr sz="632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44614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defTabSz="344614" eaLnBrk="0" hangingPunct="0">
              <a:defRPr/>
            </a:lvl1pPr>
          </a:lstStyle>
          <a:p>
            <a:pPr>
              <a:defRPr/>
            </a:pPr>
            <a:fld id="{30783AF2-C1F9-4BB7-AAD0-53CCA19EE5EB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78823282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/>
                <a:gridCol w="2401198"/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72913604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35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7502" eaLnBrk="1" hangingPunct="1">
              <a:defRPr/>
            </a:pPr>
            <a:endParaRPr lang="en-US" dirty="0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7502" eaLnBrk="1" hangingPunct="1">
              <a:defRPr/>
            </a:pPr>
            <a:endParaRPr lang="en-US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367502" eaLnBrk="1" hangingPunct="1">
              <a:defRPr/>
            </a:pPr>
            <a:fld id="{8BD30374-D65B-4D9D-8160-207451D1C402}" type="slidenum">
              <a:rPr lang="en-US" altLang="pl-PL">
                <a:solidFill>
                  <a:srgbClr val="000000"/>
                </a:solidFill>
                <a:latin typeface="Times New Roman" charset="0"/>
                <a:ea typeface="ＭＳ Ｐゴシック" charset="0"/>
              </a:rPr>
              <a:pPr defTabSz="367502" eaLnBrk="1" hangingPunct="1">
                <a:defRPr/>
              </a:pPr>
              <a:t>‹nr›</a:t>
            </a:fld>
            <a:endParaRPr lang="en-US" altLang="pl-PL">
              <a:solidFill>
                <a:srgbClr val="000000"/>
              </a:solidFill>
              <a:latin typeface="Times New Roman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95791613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pis tre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ymbol zastępczy tekstu 2"/>
          <p:cNvSpPr>
            <a:spLocks noGrp="1"/>
          </p:cNvSpPr>
          <p:nvPr userDrawn="1">
            <p:custDataLst>
              <p:tags r:id="rId1"/>
            </p:custDataLst>
          </p:nvPr>
        </p:nvSpPr>
        <p:spPr bwMode="gray">
          <a:xfrm>
            <a:off x="1030884" y="13137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" name="Symbol zastępczy tekstu 2"/>
          <p:cNvSpPr>
            <a:spLocks noGrp="1"/>
          </p:cNvSpPr>
          <p:nvPr userDrawn="1">
            <p:custDataLst>
              <p:tags r:id="rId2"/>
            </p:custDataLst>
          </p:nvPr>
        </p:nvSpPr>
        <p:spPr bwMode="gray">
          <a:xfrm>
            <a:off x="1335684" y="1618570"/>
            <a:ext cx="5498048" cy="384103"/>
          </a:xfrm>
          <a:prstGeom prst="rect">
            <a:avLst/>
          </a:prstGeom>
          <a:solidFill>
            <a:schemeClr val="bg1"/>
          </a:solidFill>
          <a:ln w="9525">
            <a:noFill/>
          </a:ln>
          <a:extLst/>
        </p:spPr>
        <p:txBody>
          <a:bodyPr wrap="square" lIns="50209" tIns="50209" rIns="0" bIns="50209" numCol="1" spcCol="0" anchor="ctr" anchorCtr="0">
            <a:noAutofit/>
          </a:bodyPr>
          <a:lstStyle>
            <a:lvl1pPr marL="350888" indent="-350888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324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60254" indent="-292407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849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6962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45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37473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105322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73171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041018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50886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976717" indent="-233925" algn="l" defTabSz="935698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63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buFont typeface="Arial" pitchFamily="34" charset="0"/>
              <a:buNone/>
            </a:pPr>
            <a:r>
              <a:rPr lang="pl-PL" sz="984" dirty="0">
                <a:solidFill>
                  <a:srgbClr val="000000"/>
                </a:solidFill>
              </a:rPr>
              <a:t>	</a:t>
            </a:r>
            <a:r>
              <a:rPr lang="pl-PL" sz="984" dirty="0" smtClean="0">
                <a:solidFill>
                  <a:srgbClr val="000000"/>
                </a:solidFill>
              </a:rPr>
              <a:t>	</a:t>
            </a:r>
            <a:r>
              <a:rPr lang="pl-PL" sz="126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	</a:t>
            </a:r>
            <a:endParaRPr lang="en-US" sz="126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 userDrawn="1">
            <p:extLst/>
          </p:nvPr>
        </p:nvGraphicFramePr>
        <p:xfrm>
          <a:off x="1" y="1307552"/>
          <a:ext cx="7559674" cy="25958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5158476"/>
                <a:gridCol w="2401198"/>
              </a:tblGrid>
              <a:tr h="370840">
                <a:tc>
                  <a:txBody>
                    <a:bodyPr/>
                    <a:lstStyle/>
                    <a:p>
                      <a:endParaRPr lang="pl-PL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pl-PL" sz="1000" dirty="0" smtClean="0">
                          <a:solidFill>
                            <a:schemeClr val="tx1"/>
                          </a:solidFill>
                          <a:latin typeface="Verdana" panose="020B0604030504040204" pitchFamily="34" charset="0"/>
                          <a:ea typeface="Verdana" panose="020B0604030504040204" pitchFamily="34" charset="0"/>
                          <a:cs typeface="Verdana" panose="020B0604030504040204" pitchFamily="34" charset="0"/>
                        </a:rPr>
                        <a:t>Strona</a:t>
                      </a:r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endParaRPr lang="pl-PL" sz="100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pl-PL" sz="1000" dirty="0">
                        <a:solidFill>
                          <a:schemeClr val="tx1"/>
                        </a:solidFill>
                        <a:latin typeface="Verdana" panose="020B0604030504040204" pitchFamily="34" charset="0"/>
                        <a:ea typeface="Verdana" panose="020B0604030504040204" pitchFamily="34" charset="0"/>
                        <a:cs typeface="Verdana" panose="020B060403050404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995306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436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fld id="{C2BA8458-01FC-40E1-83D8-A2EE281B765F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/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/>
            <a:fld id="{765A0F3B-12B7-4E38-BA88-D0DDDCD0E94E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/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fld id="{EA3F21B5-B5EB-4AB7-A6E9-90F2C307AFE0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55416107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91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0F98DE9-EC49-4436-9464-87CDDB4DC165}" type="slidenum">
              <a:rPr lang="pl-PL" altLang="pl-PL">
                <a:solidFill>
                  <a:srgbClr val="FFFFFF"/>
                </a:solidFill>
              </a:rPr>
              <a:pPr/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41202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41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fld id="{5D0AC273-C444-4208-A043-6BDE058E0A9D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80736694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743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fld id="{60FF3460-E28D-4DFA-9F0F-431D3D89D57B}" type="slidenum">
              <a:rPr lang="en-US" altLang="pl-PL"/>
              <a:pPr/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205960485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1149" cy="1233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025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1149" cy="1233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7" name="Footer Placeholder 22"/>
          <p:cNvSpPr>
            <a:spLocks noGrp="1"/>
          </p:cNvSpPr>
          <p:nvPr>
            <p:ph type="ftr" sz="quarter" idx="10"/>
            <p:custDataLst>
              <p:tags r:id="rId4"/>
            </p:custDataLst>
          </p:nvPr>
        </p:nvSpPr>
        <p:spPr>
          <a:xfrm>
            <a:off x="6486298" y="5335049"/>
            <a:ext cx="963132" cy="23910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smtClean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8" name="Slide Number Placeholder 28"/>
          <p:cNvSpPr>
            <a:spLocks noGrp="1"/>
          </p:cNvSpPr>
          <p:nvPr>
            <p:ph type="sldNum" sz="quarter" idx="11"/>
            <p:custDataLst>
              <p:tags r:id="rId5"/>
            </p:custDataLst>
          </p:nvPr>
        </p:nvSpPr>
        <p:spPr>
          <a:xfrm>
            <a:off x="7463968" y="5335049"/>
            <a:ext cx="90861" cy="23910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153">
                <a:solidFill>
                  <a:srgbClr val="FFFFFF"/>
                </a:solidFill>
                <a:latin typeface="+mn-lt"/>
                <a:cs typeface="Arial" pitchFamily="34" charset="0"/>
              </a:defRPr>
            </a:lvl1pPr>
          </a:lstStyle>
          <a:p>
            <a:fld id="{01940DDA-0656-452C-A408-68789653BD9B}" type="slidenum">
              <a:rPr lang="pl-PL" smtClean="0"/>
              <a:pPr/>
              <a:t>‹nr›</a:t>
            </a:fld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  <p:custDataLst>
              <p:tags r:id="rId6"/>
            </p:custDataLst>
          </p:nvPr>
        </p:nvSpPr>
        <p:spPr>
          <a:xfrm>
            <a:off x="559707" y="1502107"/>
            <a:ext cx="6514163" cy="91101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84559837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4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0650" cy="12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8463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0650" cy="12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4" name="Footer Placeholder 22"/>
          <p:cNvSpPr>
            <a:spLocks noGrp="1"/>
          </p:cNvSpPr>
          <p:nvPr>
            <p:ph type="ftr" sz="quarter" idx="10"/>
            <p:custDataLst>
              <p:tags r:id="rId3"/>
            </p:custDataLst>
          </p:nvPr>
        </p:nvSpPr>
        <p:spPr>
          <a:xfrm>
            <a:off x="6486525" y="5335588"/>
            <a:ext cx="963613" cy="22225"/>
          </a:xfrm>
        </p:spPr>
        <p:txBody>
          <a:bodyPr wrap="square" lIns="0" tIns="0" rIns="0" bIns="0" anchor="t" anchorCtr="0">
            <a:spAutoFit/>
          </a:bodyPr>
          <a:lstStyle>
            <a:lvl1pPr algn="r" defTabSz="730909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dirty="0">
                <a:solidFill>
                  <a:srgbClr val="FFFFFF"/>
                </a:solidFill>
                <a:latin typeface="Arial"/>
                <a:ea typeface="MS PGothic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28"/>
          <p:cNvSpPr>
            <a:spLocks noGrp="1"/>
          </p:cNvSpPr>
          <p:nvPr>
            <p:ph type="sldNum" sz="quarter" idx="11"/>
            <p:custDataLst>
              <p:tags r:id="rId4"/>
            </p:custDataLst>
          </p:nvPr>
        </p:nvSpPr>
        <p:spPr>
          <a:xfrm>
            <a:off x="7464425" y="5335588"/>
            <a:ext cx="90488" cy="23812"/>
          </a:xfrm>
        </p:spPr>
        <p:txBody>
          <a:bodyPr lIns="0" tIns="0" rIns="0" bIns="0">
            <a:spAutoFit/>
          </a:bodyPr>
          <a:lstStyle>
            <a:lvl1pPr defTabSz="730250">
              <a:defRPr sz="100">
                <a:latin typeface="Arial" panose="020B0604020202020204" pitchFamily="34" charset="0"/>
              </a:defRPr>
            </a:lvl1pPr>
          </a:lstStyle>
          <a:p>
            <a:fld id="{D284C326-2765-46F7-862C-E89497A895A3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875392359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5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20650" cy="1238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9487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20650" cy="1238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Click to edit Master title style</a:t>
            </a:r>
            <a:endParaRPr lang="pl-PL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559707" y="1502107"/>
            <a:ext cx="6514163" cy="911019"/>
          </a:xfrm>
          <a:prstGeom prst="rect">
            <a:avLst/>
          </a:prstGeom>
        </p:spPr>
        <p:txBody>
          <a:bodyPr>
            <a:spAutoFit/>
          </a:bodyPr>
          <a:lstStyle/>
          <a:p>
            <a:pPr lvl="0"/>
            <a:r>
              <a:rPr lang="pl-PL" smtClean="0"/>
              <a:t>Click to edit Master text styles</a:t>
            </a:r>
          </a:p>
          <a:p>
            <a:pPr lvl="1"/>
            <a:r>
              <a:rPr lang="pl-PL" smtClean="0"/>
              <a:t>Second level</a:t>
            </a:r>
          </a:p>
          <a:p>
            <a:pPr lvl="2"/>
            <a:r>
              <a:rPr lang="pl-PL" smtClean="0"/>
              <a:t>Third level</a:t>
            </a:r>
          </a:p>
          <a:p>
            <a:pPr lvl="3"/>
            <a:r>
              <a:rPr lang="pl-PL" smtClean="0"/>
              <a:t>Fourth level</a:t>
            </a:r>
          </a:p>
        </p:txBody>
      </p:sp>
      <p:sp>
        <p:nvSpPr>
          <p:cNvPr id="5" name="Footer Placeholder 22"/>
          <p:cNvSpPr>
            <a:spLocks noGrp="1"/>
          </p:cNvSpPr>
          <p:nvPr>
            <p:ph type="ftr" sz="quarter" idx="13"/>
            <p:custDataLst>
              <p:tags r:id="rId3"/>
            </p:custDataLst>
          </p:nvPr>
        </p:nvSpPr>
        <p:spPr>
          <a:xfrm>
            <a:off x="6486525" y="5335588"/>
            <a:ext cx="963613" cy="23812"/>
          </a:xfrm>
        </p:spPr>
        <p:txBody>
          <a:bodyPr wrap="square" lIns="0" tIns="0" rIns="0" bIns="0" anchor="t" anchorCtr="0">
            <a:spAutoFit/>
          </a:bodyPr>
          <a:lstStyle>
            <a:lvl1pPr algn="r" rtl="0" fontAlgn="base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defRPr lang="en-US" sz="153" b="0" kern="1200" dirty="0">
                <a:solidFill>
                  <a:srgbClr val="FFFFFF"/>
                </a:solidFill>
                <a:latin typeface="+mn-lt"/>
                <a:ea typeface="+mn-ea"/>
                <a:cs typeface="Arial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Slide Number Placeholder 28"/>
          <p:cNvSpPr>
            <a:spLocks noGrp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7464425" y="5335588"/>
            <a:ext cx="90488" cy="23812"/>
          </a:xfrm>
        </p:spPr>
        <p:txBody>
          <a:bodyPr lIns="0" tIns="0" rIns="0" bIns="0">
            <a:spAutoFit/>
          </a:bodyPr>
          <a:lstStyle>
            <a:lvl1pPr>
              <a:defRPr sz="100"/>
            </a:lvl1pPr>
          </a:lstStyle>
          <a:p>
            <a:fld id="{EEC224EE-56DF-481A-A13F-E24EA737A669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17039604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0511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0" y="3983"/>
            <a:ext cx="6017978" cy="762305"/>
          </a:xfrm>
          <a:prstGeom prst="rect">
            <a:avLst/>
          </a:prstGeom>
        </p:spPr>
        <p:txBody>
          <a:bodyPr/>
          <a:lstStyle>
            <a:lvl1pPr algn="l">
              <a:defRPr lang="pl-PL" sz="1831" b="1" kern="1200" dirty="0">
                <a:solidFill>
                  <a:srgbClr val="05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968795696"/>
      </p:ext>
    </p:extLst>
  </p:cSld>
  <p:clrMapOvr>
    <a:masterClrMapping/>
  </p:clrMapOvr>
  <p:transition xmlns:p14="http://schemas.microsoft.com/office/powerpoint/2010/main">
    <p:zoom/>
  </p:transition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15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D3A59286-BD40-49D5-9AB3-7765D2A87D9E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617719858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255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71F4E4B5-3FF3-43D6-84FA-81EC29D87320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074026903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358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3C7420F6-D8E4-4DEA-A2B3-4575E35FBC3B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14841438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460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79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416772" indent="-160297">
              <a:lnSpc>
                <a:spcPct val="120000"/>
              </a:lnSpc>
              <a:buFont typeface="Wingdings" panose="05000000000000000000" pitchFamily="2" charset="2"/>
              <a:buChar char="ü"/>
              <a:defRPr sz="718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673248" indent="-160297">
              <a:lnSpc>
                <a:spcPct val="120000"/>
              </a:lnSpc>
              <a:buFont typeface="Symbol" panose="05050102010706020507" pitchFamily="18" charset="2"/>
              <a:buChar char=""/>
              <a:defRPr sz="639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929724" indent="-160297">
              <a:buFont typeface="Symbol" panose="05050102010706020507" pitchFamily="18" charset="2"/>
              <a:buChar char=""/>
              <a:defRPr sz="67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fontAlgn="base" hangingPunct="0">
              <a:spcBef>
                <a:spcPct val="0"/>
              </a:spcBef>
              <a:spcAft>
                <a:spcPct val="0"/>
              </a:spcAft>
              <a:defRPr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eaLnBrk="0" hangingPunct="0">
              <a:defRPr/>
            </a:lvl1pPr>
          </a:lstStyle>
          <a:p>
            <a:fld id="{46AA08FE-BEEC-452D-A9FD-6A2FA67D8781}" type="slidenum">
              <a:rPr lang="pl-PL" altLang="pl-PL"/>
              <a:pPr/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80162465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ajd tytuł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61440687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kład niestandardow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" name="Łącznik prosty 3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3D75A0C6-18D4-4135-91A2-433737A448D3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59385603-B396-4309-BD79-5D86E69B0650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ytu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9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0" name="Symbol zastępczy numeru slajdu 3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62F8D3-053D-49E4-B61E-A5DBD67F6879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87789771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6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0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1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1142BF78-0EB1-471F-8C89-2C601CA3912C}" type="slidenum">
              <a:rPr lang="pl-PL" altLang="pl-PL">
                <a:solidFill>
                  <a:srgbClr val="FFFFFF"/>
                </a:solidFill>
              </a:rPr>
              <a:pPr>
                <a:defRPr/>
              </a:pPr>
              <a:t>‹nr›</a:t>
            </a:fld>
            <a:endParaRPr lang="pl-PL" altLang="pl-PL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025352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212" y="1236"/>
          <a:ext cx="1211" cy="12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049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12" y="1236"/>
                        <a:ext cx="1211" cy="1233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ytuł 1"/>
          <p:cNvSpPr>
            <a:spLocks noGrp="1"/>
          </p:cNvSpPr>
          <p:nvPr>
            <p:ph type="title"/>
          </p:nvPr>
        </p:nvSpPr>
        <p:spPr>
          <a:xfrm>
            <a:off x="0" y="3983"/>
            <a:ext cx="6017978" cy="762305"/>
          </a:xfrm>
          <a:prstGeom prst="rect">
            <a:avLst/>
          </a:prstGeom>
        </p:spPr>
        <p:txBody>
          <a:bodyPr anchor="ctr"/>
          <a:lstStyle>
            <a:lvl1pPr algn="l">
              <a:defRPr lang="pl-PL" sz="1831" b="1" kern="1200" dirty="0">
                <a:solidFill>
                  <a:srgbClr val="0567A0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pl-PL" smtClean="0"/>
              <a:t>Kliknij, aby edytować styl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2595097710"/>
      </p:ext>
    </p:extLst>
  </p:cSld>
  <p:clrMapOvr>
    <a:masterClrMapping/>
  </p:clrMapOvr>
  <p:transition xmlns:p14="http://schemas.microsoft.com/office/powerpoint/2010/main">
    <p:zoom/>
  </p:transition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7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Łącznik prosty 6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ymbol zastępczy zawartości 3"/>
          <p:cNvSpPr>
            <a:spLocks noGrp="1"/>
          </p:cNvSpPr>
          <p:nvPr>
            <p:ph sz="half" idx="2"/>
          </p:nvPr>
        </p:nvSpPr>
        <p:spPr>
          <a:xfrm>
            <a:off x="3885715" y="942799"/>
            <a:ext cx="3455120" cy="3897273"/>
          </a:xfrm>
          <a:prstGeom prst="rect">
            <a:avLst/>
          </a:prstGeom>
        </p:spPr>
        <p:txBody>
          <a:bodyPr/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smtClean="0"/>
              <a:t>Kliknij, aby edytować style wzorca tekstu</a:t>
            </a:r>
          </a:p>
          <a:p>
            <a:pPr lvl="1"/>
            <a:r>
              <a:rPr lang="pl-PL" smtClean="0"/>
              <a:t>Drugi poziom</a:t>
            </a:r>
          </a:p>
          <a:p>
            <a:pPr lvl="2"/>
            <a:r>
              <a:rPr lang="pl-PL" smtClean="0"/>
              <a:t>Trzeci poziom</a:t>
            </a:r>
          </a:p>
        </p:txBody>
      </p:sp>
      <p:sp>
        <p:nvSpPr>
          <p:cNvPr id="6" name="Tytuł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smtClean="0"/>
              <a:t>Kliknij, aby edytować styl</a:t>
            </a:r>
            <a:endParaRPr lang="pl-PL"/>
          </a:p>
        </p:txBody>
      </p:sp>
      <p:sp>
        <p:nvSpPr>
          <p:cNvPr id="8" name="Symbol zastępczy tekstu 2"/>
          <p:cNvSpPr>
            <a:spLocks noGrp="1"/>
          </p:cNvSpPr>
          <p:nvPr>
            <p:ph idx="1"/>
          </p:nvPr>
        </p:nvSpPr>
        <p:spPr>
          <a:xfrm>
            <a:off x="221189" y="942798"/>
            <a:ext cx="3455120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11" name="Symbol zastępczy stopki 1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2" name="Symbol zastępczy numeru slajdu 4"/>
          <p:cNvSpPr>
            <a:spLocks noGrp="1"/>
          </p:cNvSpPr>
          <p:nvPr>
            <p:ph type="sldNum" sz="quarter" idx="11"/>
          </p:nvPr>
        </p:nvSpPr>
        <p:spPr>
          <a:xfrm>
            <a:off x="5857875" y="4916488"/>
            <a:ext cx="1701800" cy="277812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C6B2BB5-8D46-4711-9307-EDBEAEC73E8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32761198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i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736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" name="Łącznik prosty 2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879A6F-F82F-43B5-890D-685C7EC15999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5.05.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8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BD30374-D65B-4D9D-8160-207451D1C402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2619576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iek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0" cy="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93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0" cy="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Łącznik prosty 5"/>
          <p:cNvCxnSpPr/>
          <p:nvPr userDrawn="1"/>
        </p:nvCxnSpPr>
        <p:spPr>
          <a:xfrm flipV="1">
            <a:off x="0" y="741363"/>
            <a:ext cx="7559675" cy="4762"/>
          </a:xfrm>
          <a:prstGeom prst="line">
            <a:avLst/>
          </a:prstGeom>
          <a:ln w="12700">
            <a:solidFill>
              <a:srgbClr val="AAAAA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 descr="TGE pl RGB male.png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91263" y="217488"/>
            <a:ext cx="1052512" cy="361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22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Slide Number Placeholder 2"/>
          <p:cNvSpPr txBox="1">
            <a:spLocks/>
          </p:cNvSpPr>
          <p:nvPr userDrawn="1"/>
        </p:nvSpPr>
        <p:spPr bwMode="auto">
          <a:xfrm>
            <a:off x="152400" y="62245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7FCC2AE8-3F05-4106-9B4E-680DBAC5D5BC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Slide Number Placeholder 2"/>
          <p:cNvSpPr txBox="1">
            <a:spLocks/>
          </p:cNvSpPr>
          <p:nvPr userDrawn="1"/>
        </p:nvSpPr>
        <p:spPr bwMode="auto">
          <a:xfrm>
            <a:off x="304800" y="63769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8E9915C2-5153-4826-AFCE-D611FC40A934}" type="slidenum">
              <a:rPr lang="en-US" altLang="pl-PL" sz="6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6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41"/>
          <p:cNvSpPr/>
          <p:nvPr userDrawn="1"/>
        </p:nvSpPr>
        <p:spPr>
          <a:xfrm>
            <a:off x="520700" y="6542088"/>
            <a:ext cx="182563" cy="185737"/>
          </a:xfrm>
          <a:prstGeom prst="rect">
            <a:avLst/>
          </a:prstGeom>
          <a:solidFill>
            <a:srgbClr val="CD092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13" name="Slide Number Placeholder 2"/>
          <p:cNvSpPr txBox="1">
            <a:spLocks/>
          </p:cNvSpPr>
          <p:nvPr userDrawn="1"/>
        </p:nvSpPr>
        <p:spPr bwMode="auto">
          <a:xfrm>
            <a:off x="457200" y="6529388"/>
            <a:ext cx="306388" cy="209550"/>
          </a:xfrm>
          <a:prstGeom prst="rect">
            <a:avLst/>
          </a:prstGeom>
          <a:noFill/>
          <a:extLst/>
        </p:spPr>
        <p:txBody>
          <a:bodyPr/>
          <a:lstStyle>
            <a:lvl1pPr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742950" indent="-28575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11430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6002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2057400" indent="-228600" defTabSz="457200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defRPr/>
            </a:pPr>
            <a:fld id="{D614E630-ABE6-4C45-9A78-1F2515B5D465}" type="slidenum">
              <a:rPr lang="en-US" altLang="pl-PL" sz="800" smtClean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ctr" eaLnBrk="1" hangingPunct="1">
                <a:defRPr/>
              </a:pPr>
              <a:t>‹nr›</a:t>
            </a:fld>
            <a:endParaRPr lang="en-US" altLang="pl-PL" sz="800" smtClean="0">
              <a:solidFill>
                <a:srgbClr val="FFFF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4" name="Picture 7" descr="kwadrat ppt 1.png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81863" y="4916488"/>
            <a:ext cx="277812" cy="277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Symbol zastępczy tekstu 2"/>
          <p:cNvSpPr>
            <a:spLocks noGrp="1"/>
          </p:cNvSpPr>
          <p:nvPr>
            <p:ph idx="1"/>
          </p:nvPr>
        </p:nvSpPr>
        <p:spPr>
          <a:xfrm>
            <a:off x="221189" y="942799"/>
            <a:ext cx="7124035" cy="389727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>
              <a:lnSpc>
                <a:spcPct val="120000"/>
              </a:lnSpc>
              <a:buClr>
                <a:srgbClr val="68B133"/>
              </a:buClr>
              <a:defRPr sz="10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>
              <a:lnSpc>
                <a:spcPct val="120000"/>
              </a:lnSpc>
              <a:buFont typeface="Wingdings" panose="05000000000000000000" pitchFamily="2" charset="2"/>
              <a:buChar char="ü"/>
              <a:defRPr sz="9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>
              <a:lnSpc>
                <a:spcPct val="120000"/>
              </a:lnSpc>
              <a:buFont typeface="Symbol" panose="05050102010706020507" pitchFamily="18" charset="2"/>
              <a:buChar char=""/>
              <a:defRPr sz="80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>
              <a:buFont typeface="Symbol" panose="05050102010706020507" pitchFamily="18" charset="2"/>
              <a:buChar char=""/>
              <a:defRPr sz="843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</a:lstStyle>
          <a:p>
            <a:pPr lvl="0"/>
            <a:r>
              <a:rPr lang="pl-PL" dirty="0" smtClean="0"/>
              <a:t>Kliknij, aby edytować style wzorca tekstu</a:t>
            </a:r>
          </a:p>
          <a:p>
            <a:pPr lvl="1"/>
            <a:r>
              <a:rPr lang="pl-PL" dirty="0" smtClean="0"/>
              <a:t>Drugi poziom</a:t>
            </a:r>
          </a:p>
          <a:p>
            <a:pPr lvl="2"/>
            <a:r>
              <a:rPr lang="pl-PL" dirty="0" smtClean="0"/>
              <a:t>Trzeci poziom</a:t>
            </a:r>
          </a:p>
        </p:txBody>
      </p:sp>
      <p:sp>
        <p:nvSpPr>
          <p:cNvPr id="4" name="Tytuł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Kliknij, aby edytować styl</a:t>
            </a:r>
            <a:endParaRPr lang="pl-PL" dirty="0"/>
          </a:p>
        </p:txBody>
      </p:sp>
      <p:sp>
        <p:nvSpPr>
          <p:cNvPr id="15" name="Symbol zastępczy stopki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defTabSz="366713" eaLnBrk="0" hangingPunct="0">
              <a:defRPr/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16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36802-66BA-4226-9C73-940F79C2D170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61174983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4" Type="http://schemas.openxmlformats.org/officeDocument/2006/relationships/image" Target="../media/image1.png"/><Relationship Id="rId5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theme" Target="../theme/theme10.xml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63.xml"/><Relationship Id="rId2" Type="http://schemas.openxmlformats.org/officeDocument/2006/relationships/slideLayout" Target="../slideLayouts/slideLayout64.xml"/></Relationships>
</file>

<file path=ppt/slideMasters/_rels/slideMaster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5.xml"/><Relationship Id="rId2" Type="http://schemas.openxmlformats.org/officeDocument/2006/relationships/theme" Target="../theme/theme11.xml"/><Relationship Id="rId3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76.xml"/><Relationship Id="rId12" Type="http://schemas.openxmlformats.org/officeDocument/2006/relationships/theme" Target="../theme/theme12.xml"/><Relationship Id="rId1" Type="http://schemas.openxmlformats.org/officeDocument/2006/relationships/slideLayout" Target="../slideLayouts/slideLayout66.xml"/><Relationship Id="rId2" Type="http://schemas.openxmlformats.org/officeDocument/2006/relationships/slideLayout" Target="../slideLayouts/slideLayout67.xml"/><Relationship Id="rId3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9.xml"/><Relationship Id="rId5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1.xml"/><Relationship Id="rId7" Type="http://schemas.openxmlformats.org/officeDocument/2006/relationships/slideLayout" Target="../slideLayouts/slideLayout72.xml"/><Relationship Id="rId8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75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4" Type="http://schemas.openxmlformats.org/officeDocument/2006/relationships/image" Target="../media/image2.png"/><Relationship Id="rId1" Type="http://schemas.openxmlformats.org/officeDocument/2006/relationships/slideLayout" Target="../slideLayouts/slideLayout77.xml"/><Relationship Id="rId2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80.xml"/><Relationship Id="rId4" Type="http://schemas.openxmlformats.org/officeDocument/2006/relationships/slideLayout" Target="../slideLayouts/slideLayout81.xml"/><Relationship Id="rId5" Type="http://schemas.openxmlformats.org/officeDocument/2006/relationships/theme" Target="../theme/theme14.xml"/><Relationship Id="rId1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4" Type="http://schemas.openxmlformats.org/officeDocument/2006/relationships/slideLayout" Target="../slideLayouts/slideLayout6.xml"/><Relationship Id="rId5" Type="http://schemas.openxmlformats.org/officeDocument/2006/relationships/slideLayout" Target="../slideLayouts/slideLayout7.xml"/><Relationship Id="rId6" Type="http://schemas.openxmlformats.org/officeDocument/2006/relationships/slideLayout" Target="../slideLayouts/slideLayout8.xml"/><Relationship Id="rId7" Type="http://schemas.openxmlformats.org/officeDocument/2006/relationships/theme" Target="../theme/theme2.xml"/><Relationship Id="rId1" Type="http://schemas.openxmlformats.org/officeDocument/2006/relationships/slideLayout" Target="../slideLayouts/slideLayout3.xml"/><Relationship Id="rId2" Type="http://schemas.openxmlformats.org/officeDocument/2006/relationships/slideLayout" Target="../slideLayouts/slideLayout4.xml"/></Relationships>
</file>

<file path=ppt/slideMasters/_rels/slideMaster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Relationship Id="rId2" Type="http://schemas.openxmlformats.org/officeDocument/2006/relationships/slideLayout" Target="../slideLayouts/slideLayout10.xml"/><Relationship Id="rId3" Type="http://schemas.openxmlformats.org/officeDocument/2006/relationships/theme" Target="../theme/theme3.xml"/></Relationships>
</file>

<file path=ppt/slideMasters/_rels/slideMaster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Relationship Id="rId2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20.xml"/><Relationship Id="rId20" Type="http://schemas.openxmlformats.org/officeDocument/2006/relationships/theme" Target="../theme/theme5.xml"/><Relationship Id="rId10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5.xml"/><Relationship Id="rId15" Type="http://schemas.openxmlformats.org/officeDocument/2006/relationships/slideLayout" Target="../slideLayouts/slideLayout26.xml"/><Relationship Id="rId16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0.xml"/><Relationship Id="rId1" Type="http://schemas.openxmlformats.org/officeDocument/2006/relationships/slideLayout" Target="../slideLayouts/slideLayout12.xml"/><Relationship Id="rId2" Type="http://schemas.openxmlformats.org/officeDocument/2006/relationships/slideLayout" Target="../slideLayouts/slideLayout13.xml"/><Relationship Id="rId3" Type="http://schemas.openxmlformats.org/officeDocument/2006/relationships/slideLayout" Target="../slideLayouts/slideLayout14.xml"/><Relationship Id="rId4" Type="http://schemas.openxmlformats.org/officeDocument/2006/relationships/slideLayout" Target="../slideLayouts/slideLayout15.xml"/><Relationship Id="rId5" Type="http://schemas.openxmlformats.org/officeDocument/2006/relationships/slideLayout" Target="../slideLayouts/slideLayout16.xml"/><Relationship Id="rId6" Type="http://schemas.openxmlformats.org/officeDocument/2006/relationships/slideLayout" Target="../slideLayouts/slideLayout17.xml"/><Relationship Id="rId7" Type="http://schemas.openxmlformats.org/officeDocument/2006/relationships/slideLayout" Target="../slideLayouts/slideLayout18.xml"/><Relationship Id="rId8" Type="http://schemas.openxmlformats.org/officeDocument/2006/relationships/slideLayout" Target="../slideLayouts/slideLayout19.xml"/></Relationships>
</file>

<file path=ppt/slideMasters/_rels/slideMaster6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41.xml"/><Relationship Id="rId12" Type="http://schemas.openxmlformats.org/officeDocument/2006/relationships/slideLayout" Target="../slideLayouts/slideLayout42.xml"/><Relationship Id="rId13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4.xml"/><Relationship Id="rId15" Type="http://schemas.openxmlformats.org/officeDocument/2006/relationships/slideLayout" Target="../slideLayouts/slideLayout45.xml"/><Relationship Id="rId16" Type="http://schemas.openxmlformats.org/officeDocument/2006/relationships/theme" Target="../theme/theme6.xml"/><Relationship Id="rId1" Type="http://schemas.openxmlformats.org/officeDocument/2006/relationships/slideLayout" Target="../slideLayouts/slideLayout31.xml"/><Relationship Id="rId2" Type="http://schemas.openxmlformats.org/officeDocument/2006/relationships/slideLayout" Target="../slideLayouts/slideLayout32.xml"/><Relationship Id="rId3" Type="http://schemas.openxmlformats.org/officeDocument/2006/relationships/slideLayout" Target="../slideLayouts/slideLayout33.xml"/><Relationship Id="rId4" Type="http://schemas.openxmlformats.org/officeDocument/2006/relationships/slideLayout" Target="../slideLayouts/slideLayout34.xml"/><Relationship Id="rId5" Type="http://schemas.openxmlformats.org/officeDocument/2006/relationships/slideLayout" Target="../slideLayouts/slideLayout35.xml"/><Relationship Id="rId6" Type="http://schemas.openxmlformats.org/officeDocument/2006/relationships/slideLayout" Target="../slideLayouts/slideLayout36.xml"/><Relationship Id="rId7" Type="http://schemas.openxmlformats.org/officeDocument/2006/relationships/slideLayout" Target="../slideLayouts/slideLayout37.xml"/><Relationship Id="rId8" Type="http://schemas.openxmlformats.org/officeDocument/2006/relationships/slideLayout" Target="../slideLayouts/slideLayout38.xml"/><Relationship Id="rId9" Type="http://schemas.openxmlformats.org/officeDocument/2006/relationships/slideLayout" Target="../slideLayouts/slideLayout39.xml"/><Relationship Id="rId10" Type="http://schemas.openxmlformats.org/officeDocument/2006/relationships/slideLayout" Target="../slideLayouts/slideLayout40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8.xml"/><Relationship Id="rId4" Type="http://schemas.openxmlformats.org/officeDocument/2006/relationships/slideLayout" Target="../slideLayouts/slideLayout49.xml"/><Relationship Id="rId5" Type="http://schemas.openxmlformats.org/officeDocument/2006/relationships/theme" Target="../theme/theme7.xml"/><Relationship Id="rId1" Type="http://schemas.openxmlformats.org/officeDocument/2006/relationships/slideLayout" Target="../slideLayouts/slideLayout46.xml"/><Relationship Id="rId2" Type="http://schemas.openxmlformats.org/officeDocument/2006/relationships/slideLayout" Target="../slideLayouts/slideLayout47.xml"/></Relationships>
</file>

<file path=ppt/slideMasters/_rels/slideMaster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0.xml"/><Relationship Id="rId2" Type="http://schemas.openxmlformats.org/officeDocument/2006/relationships/theme" Target="../theme/theme8.xml"/><Relationship Id="rId3" Type="http://schemas.openxmlformats.org/officeDocument/2006/relationships/image" Target="../media/image2.png"/></Relationships>
</file>

<file path=ppt/slideMasters/_rels/slideMaster9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61.xml"/><Relationship Id="rId12" Type="http://schemas.openxmlformats.org/officeDocument/2006/relationships/slideLayout" Target="../slideLayouts/slideLayout62.xml"/><Relationship Id="rId13" Type="http://schemas.openxmlformats.org/officeDocument/2006/relationships/theme" Target="../theme/theme9.xml"/><Relationship Id="rId1" Type="http://schemas.openxmlformats.org/officeDocument/2006/relationships/slideLayout" Target="../slideLayouts/slideLayout51.xml"/><Relationship Id="rId2" Type="http://schemas.openxmlformats.org/officeDocument/2006/relationships/slideLayout" Target="../slideLayouts/slideLayout52.xml"/><Relationship Id="rId3" Type="http://schemas.openxmlformats.org/officeDocument/2006/relationships/slideLayout" Target="../slideLayouts/slideLayout53.xml"/><Relationship Id="rId4" Type="http://schemas.openxmlformats.org/officeDocument/2006/relationships/slideLayout" Target="../slideLayouts/slideLayout54.xml"/><Relationship Id="rId5" Type="http://schemas.openxmlformats.org/officeDocument/2006/relationships/slideLayout" Target="../slideLayouts/slideLayout55.xml"/><Relationship Id="rId6" Type="http://schemas.openxmlformats.org/officeDocument/2006/relationships/slideLayout" Target="../slideLayouts/slideLayout56.xml"/><Relationship Id="rId7" Type="http://schemas.openxmlformats.org/officeDocument/2006/relationships/slideLayout" Target="../slideLayouts/slideLayout57.xml"/><Relationship Id="rId8" Type="http://schemas.openxmlformats.org/officeDocument/2006/relationships/slideLayout" Target="../slideLayouts/slideLayout58.xml"/><Relationship Id="rId9" Type="http://schemas.openxmlformats.org/officeDocument/2006/relationships/slideLayout" Target="../slideLayouts/slideLayout59.xml"/><Relationship Id="rId10" Type="http://schemas.openxmlformats.org/officeDocument/2006/relationships/slideLayout" Target="../slideLayouts/slideLayout6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3" descr="TGE tlo ppt 1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2578100"/>
            <a:ext cx="3206750" cy="275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4" descr="TGE pl RGB male.png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263" y="303213"/>
            <a:ext cx="105251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5360" r:id="rId1"/>
    <p:sldLayoutId id="2147495361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r" defTabSz="365125" rtl="0" eaLnBrk="0" fontAlgn="base" hangingPunct="0">
        <a:spcBef>
          <a:spcPct val="0"/>
        </a:spcBef>
        <a:spcAft>
          <a:spcPct val="0"/>
        </a:spcAft>
        <a:defRPr sz="900" kern="1200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2pPr>
      <a:lvl3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3pPr>
      <a:lvl4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4pPr>
      <a:lvl5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1100" kern="120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3725" indent="-228600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4400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113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6238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08776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75" r:id="rId1"/>
    <p:sldLayoutId id="2147495476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561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78" r:id="rId1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 dirty="0">
                <a:cs typeface="+mn-cs"/>
              </a:defRPr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  <a:latin typeface="Verdana" panose="020B0604030504040204" pitchFamily="34" charset="0"/>
              </a:defRPr>
            </a:lvl1pPr>
          </a:lstStyle>
          <a:p>
            <a:pPr eaLnBrk="1" hangingPunct="1"/>
            <a:fld id="{19BB469D-33EC-4AD5-8B99-DBE193D41812}" type="slidenum">
              <a:rPr lang="en-US" altLang="pl-PL" smtClean="0">
                <a:cs typeface="Arial" panose="020B0604020202020204" pitchFamily="34" charset="0"/>
              </a:rPr>
              <a:pPr eaLnBrk="1" hangingPunct="1"/>
              <a:t>‹nr›</a:t>
            </a:fld>
            <a:endParaRPr lang="en-US" altLang="pl-PL" smtClean="0"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134508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81" r:id="rId1"/>
    <p:sldLayoutId id="2147495482" r:id="rId2"/>
    <p:sldLayoutId id="2147495483" r:id="rId3"/>
    <p:sldLayoutId id="2147495484" r:id="rId4"/>
    <p:sldLayoutId id="2147495485" r:id="rId5"/>
    <p:sldLayoutId id="2147495486" r:id="rId6"/>
    <p:sldLayoutId id="2147495487" r:id="rId7"/>
    <p:sldLayoutId id="2147495488" r:id="rId8"/>
    <p:sldLayoutId id="2147495489" r:id="rId9"/>
    <p:sldLayoutId id="2147495490" r:id="rId10"/>
    <p:sldLayoutId id="2147495491" r:id="rId1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3" descr="TGE tlo ppt 1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2925" y="2578100"/>
            <a:ext cx="3206750" cy="275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43" name="Picture 6" descr="TGE pl RGB male.png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37263" y="303213"/>
            <a:ext cx="1052512" cy="360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51548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96" r:id="rId1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r" defTabSz="365125" rtl="0" eaLnBrk="0" fontAlgn="base" hangingPunct="0">
        <a:spcBef>
          <a:spcPct val="0"/>
        </a:spcBef>
        <a:spcAft>
          <a:spcPct val="0"/>
        </a:spcAft>
        <a:defRPr sz="900" kern="1200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2pPr>
      <a:lvl3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3pPr>
      <a:lvl4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4pPr>
      <a:lvl5pPr algn="r" defTabSz="365125" rtl="0" eaLnBrk="0" fontAlgn="base" hangingPunct="0">
        <a:spcBef>
          <a:spcPct val="0"/>
        </a:spcBef>
        <a:spcAft>
          <a:spcPct val="0"/>
        </a:spcAft>
        <a:defRPr sz="900">
          <a:solidFill>
            <a:srgbClr val="646567"/>
          </a:solidFill>
          <a:latin typeface="Verdana" panose="020B0604030504040204" pitchFamily="34" charset="0"/>
          <a:ea typeface="ＭＳ Ｐゴシック" charset="0"/>
          <a:cs typeface="Verdana" panose="020B0604030504040204" pitchFamily="34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defRPr sz="1100" kern="120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3725" indent="-228600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200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4400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113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6238" indent="-182563" algn="l" defTabSz="365125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fld id="{019B1DA0-0A01-449D-A287-2C93762952E0}" type="datetimeFigureOut">
              <a:rPr lang="en-US">
                <a:solidFill>
                  <a:srgbClr val="000000"/>
                </a:solidFill>
              </a:rPr>
              <a:pPr>
                <a:defRPr/>
              </a:pPr>
              <a:t>15.05.2016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26205-4A37-4454-AAE2-FCD8B57AD7DE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36192861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98" r:id="rId1"/>
    <p:sldLayoutId id="2147495499" r:id="rId2"/>
    <p:sldLayoutId id="2147495500" r:id="rId3"/>
    <p:sldLayoutId id="2147495501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26205-4A37-4454-AAE2-FCD8B57AD7DE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5362" r:id="rId1"/>
    <p:sldLayoutId id="2147495363" r:id="rId2"/>
    <p:sldLayoutId id="2147495364" r:id="rId3"/>
    <p:sldLayoutId id="2147495371" r:id="rId4"/>
    <p:sldLayoutId id="2147495373" r:id="rId5"/>
    <p:sldLayoutId id="2147495374" r:id="rId6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24" name="Symbol zastępczy stopki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6713" eaLnBrk="0" hangingPunct="0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27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85DB176-0423-4111-B44B-C1F5F7E44E78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5368" r:id="rId1"/>
    <p:sldLayoutId id="2147495494" r:id="rId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23" name="Symbol zastępczy stopki 1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6713" eaLnBrk="0" hangingPunct="0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pl-PL"/>
          </a:p>
        </p:txBody>
      </p:sp>
      <p:sp>
        <p:nvSpPr>
          <p:cNvPr id="24" name="Symbol zastępczy numeru slajdu 4"/>
          <p:cNvSpPr>
            <a:spLocks noGrp="1"/>
          </p:cNvSpPr>
          <p:nvPr>
            <p:ph type="sldNum" sz="quarter" idx="4"/>
          </p:nvPr>
        </p:nvSpPr>
        <p:spPr>
          <a:xfrm>
            <a:off x="5857875" y="4916488"/>
            <a:ext cx="1701800" cy="277812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0" hangingPunct="0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EC6EA00-0477-404D-A8A2-3C2A8A14E944}" type="slidenum">
              <a:rPr lang="pl-PL" altLang="pl-PL"/>
              <a:pPr>
                <a:defRPr/>
              </a:pPr>
              <a:t>‹nr›</a:t>
            </a:fld>
            <a:endParaRPr lang="pl-PL" altLang="pl-PL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5369" r:id="rId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26205-4A37-4454-AAE2-FCD8B57AD7DE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27889669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04" r:id="rId1"/>
    <p:sldLayoutId id="2147495405" r:id="rId2"/>
    <p:sldLayoutId id="2147495406" r:id="rId3"/>
    <p:sldLayoutId id="2147495407" r:id="rId4"/>
    <p:sldLayoutId id="2147495408" r:id="rId5"/>
    <p:sldLayoutId id="2147495409" r:id="rId6"/>
    <p:sldLayoutId id="2147495410" r:id="rId7"/>
    <p:sldLayoutId id="2147495411" r:id="rId8"/>
    <p:sldLayoutId id="2147495412" r:id="rId9"/>
    <p:sldLayoutId id="2147495413" r:id="rId10"/>
    <p:sldLayoutId id="2147495419" r:id="rId11"/>
    <p:sldLayoutId id="2147495420" r:id="rId12"/>
    <p:sldLayoutId id="2147495421" r:id="rId13"/>
    <p:sldLayoutId id="2147495422" r:id="rId14"/>
    <p:sldLayoutId id="2147495423" r:id="rId15"/>
    <p:sldLayoutId id="2147495424" r:id="rId16"/>
    <p:sldLayoutId id="2147495425" r:id="rId17"/>
    <p:sldLayoutId id="2147495426" r:id="rId18"/>
    <p:sldLayoutId id="2147495427" r:id="rId19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26205-4A37-4454-AAE2-FCD8B57AD7DE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38407246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31" r:id="rId1"/>
    <p:sldLayoutId id="2147495432" r:id="rId2"/>
    <p:sldLayoutId id="2147495433" r:id="rId3"/>
    <p:sldLayoutId id="2147495434" r:id="rId4"/>
    <p:sldLayoutId id="2147495435" r:id="rId5"/>
    <p:sldLayoutId id="2147495436" r:id="rId6"/>
    <p:sldLayoutId id="2147495437" r:id="rId7"/>
    <p:sldLayoutId id="2147495438" r:id="rId8"/>
    <p:sldLayoutId id="2147495439" r:id="rId9"/>
    <p:sldLayoutId id="2147495440" r:id="rId10"/>
    <p:sldLayoutId id="2147495447" r:id="rId11"/>
    <p:sldLayoutId id="2147495448" r:id="rId12"/>
    <p:sldLayoutId id="2147495449" r:id="rId13"/>
    <p:sldLayoutId id="2147495450" r:id="rId14"/>
    <p:sldLayoutId id="2147495451" r:id="rId15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3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8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67502" eaLnBrk="1" hangingPunct="1">
              <a:defRPr sz="6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3" y="4919663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2826205-4A37-4454-AAE2-FCD8B57AD7DE}" type="slidenum">
              <a:rPr lang="en-US" altLang="pl-PL"/>
              <a:pPr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5067827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53" r:id="rId1"/>
    <p:sldLayoutId id="2147495454" r:id="rId2"/>
    <p:sldLayoutId id="2147495455" r:id="rId3"/>
    <p:sldLayoutId id="2147495456" r:id="rId4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41350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572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9144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3716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828800" algn="l" defTabSz="641350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39713" indent="-239713" algn="l" defTabSz="641350" rtl="0" eaLnBrk="0" fontAlgn="base" hangingPunct="0">
        <a:lnSpc>
          <a:spcPct val="90000"/>
        </a:lnSpc>
        <a:spcBef>
          <a:spcPts val="700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2067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14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842963" indent="-200025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Wingdings" panose="05000000000000000000" pitchFamily="2" charset="2"/>
        <a:buChar char="ü"/>
        <a:defRPr sz="11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63613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defRPr sz="9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444625" indent="-160338" algn="l" defTabSz="641350" rtl="0" eaLnBrk="0" fontAlgn="base" hangingPunct="0">
        <a:lnSpc>
          <a:spcPct val="90000"/>
        </a:lnSpc>
        <a:spcBef>
          <a:spcPts val="350"/>
        </a:spcBef>
        <a:spcAft>
          <a:spcPct val="0"/>
        </a:spcAft>
        <a:buFont typeface="Arial" panose="020B0604020202020204" pitchFamily="34" charset="0"/>
        <a:buChar char="•"/>
        <a:defRPr sz="1200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76726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208858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40990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731221" indent="-160660" algn="l" defTabSz="642640" rtl="0" eaLnBrk="1" latinLnBrk="0" hangingPunct="1">
        <a:lnSpc>
          <a:spcPct val="90000"/>
        </a:lnSpc>
        <a:spcBef>
          <a:spcPts val="351"/>
        </a:spcBef>
        <a:buFont typeface="Arial" panose="020B0604020202020204" pitchFamily="34" charset="0"/>
        <a:buChar char="•"/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1pPr>
      <a:lvl2pPr marL="32132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2pPr>
      <a:lvl3pPr marL="64264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3pPr>
      <a:lvl4pPr marL="963960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4pPr>
      <a:lvl5pPr marL="128528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5pPr>
      <a:lvl6pPr marL="160660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6pPr>
      <a:lvl7pPr marL="192792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7pPr>
      <a:lvl8pPr marL="224924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8pPr>
      <a:lvl9pPr marL="2570561" algn="l" defTabSz="642640" rtl="0" eaLnBrk="1" latinLnBrk="0" hangingPunct="1">
        <a:defRPr sz="126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TGE pl RGB male.png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84127" y="217964"/>
            <a:ext cx="1053298" cy="361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0516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58" r:id="rId1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r" defTabSz="366148" rtl="0" eaLnBrk="0" fontAlgn="base" hangingPunct="0">
        <a:lnSpc>
          <a:spcPct val="100000"/>
        </a:lnSpc>
        <a:spcBef>
          <a:spcPct val="0"/>
        </a:spcBef>
        <a:spcAft>
          <a:spcPct val="0"/>
        </a:spcAft>
        <a:defRPr sz="984" kern="1200" cap="none">
          <a:solidFill>
            <a:srgbClr val="646567"/>
          </a:solidFill>
          <a:latin typeface="Verdana"/>
          <a:ea typeface="ＭＳ Ｐゴシック" charset="0"/>
          <a:cs typeface="Verdana"/>
        </a:defRPr>
      </a:lvl1pPr>
      <a:lvl2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2pPr>
      <a:lvl3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3pPr>
      <a:lvl4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4pPr>
      <a:lvl5pPr algn="ctr" defTabSz="366148" rtl="0" eaLnBrk="0" fontAlgn="base" hangingPunct="0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5pPr>
      <a:lvl6pPr marL="366148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6pPr>
      <a:lvl7pPr marL="732294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7pPr>
      <a:lvl8pPr marL="1098442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8pPr>
      <a:lvl9pPr marL="1464590" algn="ctr" defTabSz="366148" rtl="0" fontAlgn="base">
        <a:spcBef>
          <a:spcPct val="0"/>
        </a:spcBef>
        <a:spcAft>
          <a:spcPct val="0"/>
        </a:spcAft>
        <a:defRPr sz="3514">
          <a:solidFill>
            <a:schemeClr val="tx1"/>
          </a:solidFill>
          <a:latin typeface="Calibri" charset="0"/>
          <a:ea typeface="ＭＳ Ｐゴシック" charset="0"/>
          <a:cs typeface="ＭＳ Ｐゴシック" charset="0"/>
        </a:defRPr>
      </a:lvl9pPr>
    </p:titleStyle>
    <p:bodyStyle>
      <a:lvl1pPr marL="0" indent="0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None/>
        <a:defRPr sz="1124" kern="1200" baseline="0">
          <a:solidFill>
            <a:srgbClr val="141313"/>
          </a:solidFill>
          <a:latin typeface="Verdana"/>
          <a:ea typeface="ＭＳ Ｐゴシック" charset="0"/>
          <a:cs typeface="Verdana"/>
        </a:defRPr>
      </a:lvl1pPr>
      <a:lvl2pPr marL="594990" indent="-228842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249" kern="1200">
          <a:solidFill>
            <a:schemeClr val="tx1"/>
          </a:solidFill>
          <a:latin typeface="+mn-lt"/>
          <a:ea typeface="ＭＳ Ｐゴシック" charset="0"/>
          <a:cs typeface="+mn-cs"/>
        </a:defRPr>
      </a:lvl2pPr>
      <a:lvl3pPr marL="915369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1898" kern="1200">
          <a:solidFill>
            <a:schemeClr val="tx1"/>
          </a:solidFill>
          <a:latin typeface="+mn-lt"/>
          <a:ea typeface="ＭＳ Ｐゴシック" charset="0"/>
          <a:cs typeface="+mn-cs"/>
        </a:defRPr>
      </a:lvl3pPr>
      <a:lvl4pPr marL="1281515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4pPr>
      <a:lvl5pPr marL="1647663" indent="-183073" algn="l" defTabSz="366148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616" kern="1200">
          <a:solidFill>
            <a:schemeClr val="tx1"/>
          </a:solidFill>
          <a:latin typeface="+mn-lt"/>
          <a:ea typeface="ＭＳ Ｐゴシック" charset="0"/>
          <a:cs typeface="+mn-cs"/>
        </a:defRPr>
      </a:lvl5pPr>
      <a:lvl6pPr marL="2013811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6pPr>
      <a:lvl7pPr marL="2379958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7pPr>
      <a:lvl8pPr marL="2746105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8pPr>
      <a:lvl9pPr marL="3112252" indent="-183073" algn="l" defTabSz="366148" rtl="0" eaLnBrk="1" latinLnBrk="0" hangingPunct="1">
        <a:spcBef>
          <a:spcPct val="20000"/>
        </a:spcBef>
        <a:buFont typeface="Arial"/>
        <a:buChar char="•"/>
        <a:defRPr sz="16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1pPr>
      <a:lvl2pPr marL="36614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2pPr>
      <a:lvl3pPr marL="732294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3pPr>
      <a:lvl4pPr marL="1098442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4pPr>
      <a:lvl5pPr marL="1464590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5pPr>
      <a:lvl6pPr marL="1830736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6pPr>
      <a:lvl7pPr marL="2196885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7pPr>
      <a:lvl8pPr marL="2563031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8pPr>
      <a:lvl9pPr marL="2929178" algn="l" defTabSz="366148" rtl="0" eaLnBrk="1" latinLnBrk="0" hangingPunct="1">
        <a:defRPr sz="147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1678">
          <p15:clr>
            <a:srgbClr val="F26B43"/>
          </p15:clr>
        </p15:guide>
        <p15:guide id="2" pos="2381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Symbol zastępczy tytułu 21"/>
          <p:cNvSpPr>
            <a:spLocks noGrp="1"/>
          </p:cNvSpPr>
          <p:nvPr>
            <p:ph type="title"/>
          </p:nvPr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pl-PL" altLang="pl-PL" smtClean="0"/>
              <a:t>Tytuł– verdana bold 28</a:t>
            </a:r>
          </a:p>
        </p:txBody>
      </p:sp>
      <p:sp>
        <p:nvSpPr>
          <p:cNvPr id="9" name="Date Placeholder 1"/>
          <p:cNvSpPr>
            <a:spLocks noGrp="1"/>
          </p:cNvSpPr>
          <p:nvPr>
            <p:ph type="dt" sz="half" idx="2"/>
          </p:nvPr>
        </p:nvSpPr>
        <p:spPr>
          <a:xfrm>
            <a:off x="519113" y="4938714"/>
            <a:ext cx="1701800" cy="282575"/>
          </a:xfrm>
          <a:prstGeom prst="rect">
            <a:avLst/>
          </a:prstGeom>
        </p:spPr>
        <p:txBody>
          <a:bodyPr/>
          <a:lstStyle>
            <a:lvl1pPr eaLnBrk="0" hangingPunct="0">
              <a:defRPr>
                <a:cs typeface="+mn-cs"/>
              </a:defRPr>
            </a:lvl1pPr>
          </a:lstStyle>
          <a:p>
            <a:pPr defTabSz="344614"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0" name="Footer Placeholder 2"/>
          <p:cNvSpPr>
            <a:spLocks noGrp="1"/>
          </p:cNvSpPr>
          <p:nvPr>
            <p:ph type="ftr" sz="quarter" idx="3"/>
          </p:nvPr>
        </p:nvSpPr>
        <p:spPr>
          <a:xfrm>
            <a:off x="223839" y="4916488"/>
            <a:ext cx="4446587" cy="2667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defTabSz="345355" eaLnBrk="1" hangingPunct="1">
              <a:defRPr sz="564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1" name="Slide Number Placeholder 3"/>
          <p:cNvSpPr>
            <a:spLocks noGrp="1"/>
          </p:cNvSpPr>
          <p:nvPr>
            <p:ph type="sldNum" sz="quarter" idx="4"/>
          </p:nvPr>
        </p:nvSpPr>
        <p:spPr>
          <a:xfrm>
            <a:off x="5795964" y="4919664"/>
            <a:ext cx="1763712" cy="28257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564">
                <a:solidFill>
                  <a:srgbClr val="FFFFFF"/>
                </a:solidFill>
                <a:latin typeface="Verdana" panose="020B0604030504040204" pitchFamily="34" charset="0"/>
                <a:cs typeface="Arial" panose="020B0604020202020204" pitchFamily="34" charset="0"/>
              </a:defRPr>
            </a:lvl1pPr>
          </a:lstStyle>
          <a:p>
            <a:pPr defTabSz="344614">
              <a:defRPr/>
            </a:pPr>
            <a:fld id="{72826205-4A37-4454-AAE2-FCD8B57AD7DE}" type="slidenum">
              <a:rPr lang="en-US" altLang="pl-PL" smtClean="0"/>
              <a:pPr defTabSz="344614">
                <a:defRPr/>
              </a:pPr>
              <a:t>‹nr›</a:t>
            </a:fld>
            <a:endParaRPr lang="en-US" altLang="pl-PL"/>
          </a:p>
        </p:txBody>
      </p:sp>
    </p:spTree>
    <p:extLst>
      <p:ext uri="{BB962C8B-B14F-4D97-AF65-F5344CB8AC3E}">
        <p14:creationId xmlns:p14="http://schemas.microsoft.com/office/powerpoint/2010/main" val="18604463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5461" r:id="rId1"/>
    <p:sldLayoutId id="2147495462" r:id="rId2"/>
    <p:sldLayoutId id="2147495463" r:id="rId3"/>
    <p:sldLayoutId id="2147495464" r:id="rId4"/>
    <p:sldLayoutId id="2147495465" r:id="rId5"/>
    <p:sldLayoutId id="2147495466" r:id="rId6"/>
    <p:sldLayoutId id="2147495467" r:id="rId7"/>
    <p:sldLayoutId id="2147495469" r:id="rId8"/>
    <p:sldLayoutId id="2147495470" r:id="rId9"/>
    <p:sldLayoutId id="2147495471" r:id="rId10"/>
    <p:sldLayoutId id="2147495472" r:id="rId11"/>
    <p:sldLayoutId id="2147495473" r:id="rId12"/>
  </p:sldLayoutIdLst>
  <p:timing>
    <p:tnLst>
      <p:par>
        <p:cTn xmlns:p14="http://schemas.microsoft.com/office/powerpoint/2010/main" id="1" dur="indefinite" restart="never" nodeType="tmRoot"/>
      </p:par>
    </p:tnLst>
  </p:timing>
  <p:hf hdr="0" ftr="0" dt="0"/>
  <p:txStyles>
    <p:titleStyle>
      <a:lvl1pPr algn="l" defTabSz="6027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 kern="1200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algn="l" defTabSz="6027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algn="l" defTabSz="6027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algn="l" defTabSz="6027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algn="l" defTabSz="602701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429648" algn="l" defTabSz="602701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6pPr>
      <a:lvl7pPr marL="859296" algn="l" defTabSz="602701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7pPr>
      <a:lvl8pPr marL="1288945" algn="l" defTabSz="602701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8pPr>
      <a:lvl9pPr marL="1718593" algn="l" defTabSz="602701" rtl="0" fontAlgn="base">
        <a:lnSpc>
          <a:spcPct val="90000"/>
        </a:lnSpc>
        <a:spcBef>
          <a:spcPct val="0"/>
        </a:spcBef>
        <a:spcAft>
          <a:spcPct val="0"/>
        </a:spcAft>
        <a:defRPr b="1">
          <a:solidFill>
            <a:srgbClr val="646567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9pPr>
    </p:titleStyle>
    <p:bodyStyle>
      <a:lvl1pPr marL="225268" indent="-225268" algn="l" defTabSz="602701" rtl="0" eaLnBrk="0" fontAlgn="base" hangingPunct="0">
        <a:lnSpc>
          <a:spcPct val="90000"/>
        </a:lnSpc>
        <a:spcBef>
          <a:spcPts val="658"/>
        </a:spcBef>
        <a:spcAft>
          <a:spcPct val="0"/>
        </a:spcAft>
        <a:buClr>
          <a:srgbClr val="0090D5"/>
        </a:buClr>
        <a:buFont typeface="Symbol" panose="05050102010706020507" pitchFamily="18" charset="2"/>
        <a:buChar char="¨"/>
        <a:defRPr sz="1315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  <a:lvl2pPr marL="301350" algn="l" defTabSz="602701" rtl="0" eaLnBrk="0" fontAlgn="base" hangingPunct="0">
        <a:lnSpc>
          <a:spcPct val="90000"/>
        </a:lnSpc>
        <a:spcBef>
          <a:spcPts val="329"/>
        </a:spcBef>
        <a:spcAft>
          <a:spcPct val="0"/>
        </a:spcAft>
        <a:defRPr sz="1315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2pPr>
      <a:lvl3pPr marL="792165" indent="-187971" algn="l" defTabSz="602701" rtl="0" eaLnBrk="0" fontAlgn="base" hangingPunct="0">
        <a:lnSpc>
          <a:spcPct val="90000"/>
        </a:lnSpc>
        <a:spcBef>
          <a:spcPts val="329"/>
        </a:spcBef>
        <a:spcAft>
          <a:spcPct val="0"/>
        </a:spcAft>
        <a:buFont typeface="Wingdings" panose="05000000000000000000" pitchFamily="2" charset="2"/>
        <a:buChar char="ü"/>
        <a:defRPr sz="1034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3pPr>
      <a:lvl4pPr marL="905544" algn="l" defTabSz="602701" rtl="0" eaLnBrk="0" fontAlgn="base" hangingPunct="0">
        <a:lnSpc>
          <a:spcPct val="90000"/>
        </a:lnSpc>
        <a:spcBef>
          <a:spcPts val="329"/>
        </a:spcBef>
        <a:spcAft>
          <a:spcPct val="0"/>
        </a:spcAft>
        <a:defRPr sz="846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4pPr>
      <a:lvl5pPr marL="1357569" indent="-150676" algn="l" defTabSz="602701" rtl="0" eaLnBrk="0" fontAlgn="base" hangingPunct="0">
        <a:lnSpc>
          <a:spcPct val="90000"/>
        </a:lnSpc>
        <a:spcBef>
          <a:spcPts val="329"/>
        </a:spcBef>
        <a:spcAft>
          <a:spcPct val="0"/>
        </a:spcAft>
        <a:buFont typeface="Arial" panose="020B0604020202020204" pitchFamily="34" charset="0"/>
        <a:buChar char="•"/>
        <a:defRPr sz="1128" kern="1200">
          <a:solidFill>
            <a:srgbClr val="000000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5pPr>
      <a:lvl6pPr marL="1660763" indent="-150978" algn="l" defTabSz="603913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962720" indent="-150978" algn="l" defTabSz="603913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264676" indent="-150978" algn="l" defTabSz="603913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566633" indent="-150978" algn="l" defTabSz="603913" rtl="0" eaLnBrk="1" latinLnBrk="0" hangingPunct="1">
        <a:lnSpc>
          <a:spcPct val="90000"/>
        </a:lnSpc>
        <a:spcBef>
          <a:spcPts val="330"/>
        </a:spcBef>
        <a:buFont typeface="Arial" panose="020B0604020202020204" pitchFamily="34" charset="0"/>
        <a:buChar char="•"/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pl-PL"/>
      </a:defPPr>
      <a:lvl1pPr marL="0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1pPr>
      <a:lvl2pPr marL="301957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2pPr>
      <a:lvl3pPr marL="603913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3pPr>
      <a:lvl4pPr marL="905870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4pPr>
      <a:lvl5pPr marL="1207828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5pPr>
      <a:lvl6pPr marL="1509785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6pPr>
      <a:lvl7pPr marL="1811741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7pPr>
      <a:lvl8pPr marL="2113698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8pPr>
      <a:lvl9pPr marL="2415655" algn="l" defTabSz="603913" rtl="0" eaLnBrk="1" latinLnBrk="0" hangingPunct="1">
        <a:defRPr sz="1189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3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4.jpe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5.xml"/><Relationship Id="rId2" Type="http://schemas.openxmlformats.org/officeDocument/2006/relationships/diagramData" Target="../diagrams/data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7.xml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127.xml"/><Relationship Id="rId14" Type="http://schemas.openxmlformats.org/officeDocument/2006/relationships/tags" Target="../tags/tag128.xml"/><Relationship Id="rId15" Type="http://schemas.openxmlformats.org/officeDocument/2006/relationships/tags" Target="../tags/tag129.xml"/><Relationship Id="rId16" Type="http://schemas.openxmlformats.org/officeDocument/2006/relationships/tags" Target="../tags/tag130.xml"/><Relationship Id="rId17" Type="http://schemas.openxmlformats.org/officeDocument/2006/relationships/tags" Target="../tags/tag131.xml"/><Relationship Id="rId18" Type="http://schemas.openxmlformats.org/officeDocument/2006/relationships/tags" Target="../tags/tag132.xml"/><Relationship Id="rId19" Type="http://schemas.openxmlformats.org/officeDocument/2006/relationships/tags" Target="../tags/tag133.xml"/><Relationship Id="rId63" Type="http://schemas.openxmlformats.org/officeDocument/2006/relationships/tags" Target="../tags/tag177.xml"/><Relationship Id="rId64" Type="http://schemas.openxmlformats.org/officeDocument/2006/relationships/tags" Target="../tags/tag178.xml"/><Relationship Id="rId65" Type="http://schemas.openxmlformats.org/officeDocument/2006/relationships/tags" Target="../tags/tag179.xml"/><Relationship Id="rId66" Type="http://schemas.openxmlformats.org/officeDocument/2006/relationships/tags" Target="../tags/tag180.xml"/><Relationship Id="rId67" Type="http://schemas.openxmlformats.org/officeDocument/2006/relationships/tags" Target="../tags/tag181.xml"/><Relationship Id="rId68" Type="http://schemas.openxmlformats.org/officeDocument/2006/relationships/tags" Target="../tags/tag182.xml"/><Relationship Id="rId69" Type="http://schemas.openxmlformats.org/officeDocument/2006/relationships/tags" Target="../tags/tag183.xml"/><Relationship Id="rId50" Type="http://schemas.openxmlformats.org/officeDocument/2006/relationships/tags" Target="../tags/tag164.xml"/><Relationship Id="rId51" Type="http://schemas.openxmlformats.org/officeDocument/2006/relationships/tags" Target="../tags/tag165.xml"/><Relationship Id="rId52" Type="http://schemas.openxmlformats.org/officeDocument/2006/relationships/tags" Target="../tags/tag166.xml"/><Relationship Id="rId53" Type="http://schemas.openxmlformats.org/officeDocument/2006/relationships/tags" Target="../tags/tag167.xml"/><Relationship Id="rId54" Type="http://schemas.openxmlformats.org/officeDocument/2006/relationships/tags" Target="../tags/tag168.xml"/><Relationship Id="rId55" Type="http://schemas.openxmlformats.org/officeDocument/2006/relationships/tags" Target="../tags/tag169.xml"/><Relationship Id="rId56" Type="http://schemas.openxmlformats.org/officeDocument/2006/relationships/tags" Target="../tags/tag170.xml"/><Relationship Id="rId57" Type="http://schemas.openxmlformats.org/officeDocument/2006/relationships/tags" Target="../tags/tag171.xml"/><Relationship Id="rId58" Type="http://schemas.openxmlformats.org/officeDocument/2006/relationships/tags" Target="../tags/tag172.xml"/><Relationship Id="rId59" Type="http://schemas.openxmlformats.org/officeDocument/2006/relationships/tags" Target="../tags/tag173.xml"/><Relationship Id="rId40" Type="http://schemas.openxmlformats.org/officeDocument/2006/relationships/tags" Target="../tags/tag154.xml"/><Relationship Id="rId41" Type="http://schemas.openxmlformats.org/officeDocument/2006/relationships/tags" Target="../tags/tag155.xml"/><Relationship Id="rId42" Type="http://schemas.openxmlformats.org/officeDocument/2006/relationships/tags" Target="../tags/tag156.xml"/><Relationship Id="rId43" Type="http://schemas.openxmlformats.org/officeDocument/2006/relationships/tags" Target="../tags/tag157.xml"/><Relationship Id="rId44" Type="http://schemas.openxmlformats.org/officeDocument/2006/relationships/tags" Target="../tags/tag158.xml"/><Relationship Id="rId45" Type="http://schemas.openxmlformats.org/officeDocument/2006/relationships/tags" Target="../tags/tag159.xml"/><Relationship Id="rId46" Type="http://schemas.openxmlformats.org/officeDocument/2006/relationships/tags" Target="../tags/tag160.xml"/><Relationship Id="rId47" Type="http://schemas.openxmlformats.org/officeDocument/2006/relationships/tags" Target="../tags/tag161.xml"/><Relationship Id="rId48" Type="http://schemas.openxmlformats.org/officeDocument/2006/relationships/tags" Target="../tags/tag162.xml"/><Relationship Id="rId49" Type="http://schemas.openxmlformats.org/officeDocument/2006/relationships/tags" Target="../tags/tag163.xml"/><Relationship Id="rId1" Type="http://schemas.openxmlformats.org/officeDocument/2006/relationships/tags" Target="../tags/tag115.xml"/><Relationship Id="rId2" Type="http://schemas.openxmlformats.org/officeDocument/2006/relationships/tags" Target="../tags/tag116.xml"/><Relationship Id="rId3" Type="http://schemas.openxmlformats.org/officeDocument/2006/relationships/tags" Target="../tags/tag117.xml"/><Relationship Id="rId4" Type="http://schemas.openxmlformats.org/officeDocument/2006/relationships/tags" Target="../tags/tag118.xml"/><Relationship Id="rId5" Type="http://schemas.openxmlformats.org/officeDocument/2006/relationships/tags" Target="../tags/tag119.xml"/><Relationship Id="rId6" Type="http://schemas.openxmlformats.org/officeDocument/2006/relationships/tags" Target="../tags/tag120.xml"/><Relationship Id="rId7" Type="http://schemas.openxmlformats.org/officeDocument/2006/relationships/tags" Target="../tags/tag121.xml"/><Relationship Id="rId8" Type="http://schemas.openxmlformats.org/officeDocument/2006/relationships/tags" Target="../tags/tag122.xml"/><Relationship Id="rId9" Type="http://schemas.openxmlformats.org/officeDocument/2006/relationships/tags" Target="../tags/tag123.xml"/><Relationship Id="rId30" Type="http://schemas.openxmlformats.org/officeDocument/2006/relationships/tags" Target="../tags/tag144.xml"/><Relationship Id="rId31" Type="http://schemas.openxmlformats.org/officeDocument/2006/relationships/tags" Target="../tags/tag145.xml"/><Relationship Id="rId32" Type="http://schemas.openxmlformats.org/officeDocument/2006/relationships/tags" Target="../tags/tag146.xml"/><Relationship Id="rId33" Type="http://schemas.openxmlformats.org/officeDocument/2006/relationships/tags" Target="../tags/tag147.xml"/><Relationship Id="rId34" Type="http://schemas.openxmlformats.org/officeDocument/2006/relationships/tags" Target="../tags/tag148.xml"/><Relationship Id="rId35" Type="http://schemas.openxmlformats.org/officeDocument/2006/relationships/tags" Target="../tags/tag149.xml"/><Relationship Id="rId36" Type="http://schemas.openxmlformats.org/officeDocument/2006/relationships/tags" Target="../tags/tag150.xml"/><Relationship Id="rId37" Type="http://schemas.openxmlformats.org/officeDocument/2006/relationships/tags" Target="../tags/tag151.xml"/><Relationship Id="rId38" Type="http://schemas.openxmlformats.org/officeDocument/2006/relationships/tags" Target="../tags/tag152.xml"/><Relationship Id="rId39" Type="http://schemas.openxmlformats.org/officeDocument/2006/relationships/tags" Target="../tags/tag153.xml"/><Relationship Id="rId70" Type="http://schemas.openxmlformats.org/officeDocument/2006/relationships/tags" Target="../tags/tag184.xml"/><Relationship Id="rId71" Type="http://schemas.openxmlformats.org/officeDocument/2006/relationships/tags" Target="../tags/tag185.xml"/><Relationship Id="rId72" Type="http://schemas.openxmlformats.org/officeDocument/2006/relationships/tags" Target="../tags/tag186.xml"/><Relationship Id="rId20" Type="http://schemas.openxmlformats.org/officeDocument/2006/relationships/tags" Target="../tags/tag134.xml"/><Relationship Id="rId21" Type="http://schemas.openxmlformats.org/officeDocument/2006/relationships/tags" Target="../tags/tag135.xml"/><Relationship Id="rId22" Type="http://schemas.openxmlformats.org/officeDocument/2006/relationships/tags" Target="../tags/tag136.xml"/><Relationship Id="rId23" Type="http://schemas.openxmlformats.org/officeDocument/2006/relationships/tags" Target="../tags/tag137.xml"/><Relationship Id="rId24" Type="http://schemas.openxmlformats.org/officeDocument/2006/relationships/tags" Target="../tags/tag138.xml"/><Relationship Id="rId25" Type="http://schemas.openxmlformats.org/officeDocument/2006/relationships/tags" Target="../tags/tag139.xml"/><Relationship Id="rId26" Type="http://schemas.openxmlformats.org/officeDocument/2006/relationships/tags" Target="../tags/tag140.xml"/><Relationship Id="rId27" Type="http://schemas.openxmlformats.org/officeDocument/2006/relationships/tags" Target="../tags/tag141.xml"/><Relationship Id="rId28" Type="http://schemas.openxmlformats.org/officeDocument/2006/relationships/tags" Target="../tags/tag142.xml"/><Relationship Id="rId29" Type="http://schemas.openxmlformats.org/officeDocument/2006/relationships/tags" Target="../tags/tag143.xml"/><Relationship Id="rId73" Type="http://schemas.openxmlformats.org/officeDocument/2006/relationships/tags" Target="../tags/tag187.xml"/><Relationship Id="rId74" Type="http://schemas.openxmlformats.org/officeDocument/2006/relationships/tags" Target="../tags/tag188.xml"/><Relationship Id="rId75" Type="http://schemas.openxmlformats.org/officeDocument/2006/relationships/tags" Target="../tags/tag189.xml"/><Relationship Id="rId76" Type="http://schemas.openxmlformats.org/officeDocument/2006/relationships/tags" Target="../tags/tag190.xml"/><Relationship Id="rId77" Type="http://schemas.openxmlformats.org/officeDocument/2006/relationships/tags" Target="../tags/tag191.xml"/><Relationship Id="rId78" Type="http://schemas.openxmlformats.org/officeDocument/2006/relationships/tags" Target="../tags/tag192.xml"/><Relationship Id="rId79" Type="http://schemas.openxmlformats.org/officeDocument/2006/relationships/slideLayout" Target="../slideLayouts/slideLayout64.xml"/><Relationship Id="rId60" Type="http://schemas.openxmlformats.org/officeDocument/2006/relationships/tags" Target="../tags/tag174.xml"/><Relationship Id="rId61" Type="http://schemas.openxmlformats.org/officeDocument/2006/relationships/tags" Target="../tags/tag175.xml"/><Relationship Id="rId62" Type="http://schemas.openxmlformats.org/officeDocument/2006/relationships/tags" Target="../tags/tag176.xml"/><Relationship Id="rId10" Type="http://schemas.openxmlformats.org/officeDocument/2006/relationships/tags" Target="../tags/tag124.xml"/><Relationship Id="rId11" Type="http://schemas.openxmlformats.org/officeDocument/2006/relationships/tags" Target="../tags/tag125.xml"/><Relationship Id="rId12" Type="http://schemas.openxmlformats.org/officeDocument/2006/relationships/tags" Target="../tags/tag126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Arkusz_programu_Microsoft_Excel_97_20041.xls"/><Relationship Id="rId4" Type="http://schemas.openxmlformats.org/officeDocument/2006/relationships/image" Target="../media/image9.emf"/><Relationship Id="rId1" Type="http://schemas.openxmlformats.org/officeDocument/2006/relationships/vmlDrawing" Target="../drawings/vmlDrawing76.vml"/><Relationship Id="rId2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hyperlink" Target="https://tge.pl/pl/523/szkolenia-na-rynku-towarowym" TargetMode="External"/><Relationship Id="rId3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1.png"/><Relationship Id="rId3" Type="http://schemas.microsoft.com/office/2007/relationships/hdphoto" Target="../media/hdphoto1.wdp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Relationship Id="rId2" Type="http://schemas.openxmlformats.org/officeDocument/2006/relationships/image" Target="../media/image1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Symbol zastępczy tekstu 1"/>
          <p:cNvSpPr>
            <a:spLocks noGrp="1"/>
          </p:cNvSpPr>
          <p:nvPr>
            <p:ph type="body" sz="quarter" idx="10"/>
          </p:nvPr>
        </p:nvSpPr>
        <p:spPr bwMode="auto">
          <a:xfrm>
            <a:off x="439738" y="846725"/>
            <a:ext cx="6731000" cy="28194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tIns="45720" rIns="91440" numCol="1" anchor="t" anchorCtr="0" compatLnSpc="1">
            <a:prstTxWarp prst="textNoShape">
              <a:avLst/>
            </a:prstTxWarp>
          </a:bodyPr>
          <a:lstStyle/>
          <a:p>
            <a:endParaRPr lang="pl-PL" altLang="pl-PL" dirty="0" smtClean="0">
              <a:ea typeface="ＭＳ Ｐゴシック" panose="020B0600070205080204" pitchFamily="34" charset="-128"/>
            </a:endParaRPr>
          </a:p>
          <a:p>
            <a:endParaRPr lang="pl-PL" altLang="pl-PL" dirty="0" smtClean="0">
              <a:ea typeface="ＭＳ Ｐゴシック" panose="020B0600070205080204" pitchFamily="34" charset="-128"/>
            </a:endParaRPr>
          </a:p>
          <a:p>
            <a:endParaRPr lang="pl-PL" altLang="pl-PL" dirty="0" smtClean="0">
              <a:ea typeface="ＭＳ Ｐゴシック" panose="020B0600070205080204" pitchFamily="34" charset="-128"/>
            </a:endParaRPr>
          </a:p>
          <a:p>
            <a:r>
              <a:rPr lang="pl-PL" sz="1600" dirty="0"/>
              <a:t>Rola i uwarunkowania funkcjonowania TGE S.A. w łańcuchu dostaw gazu</a:t>
            </a:r>
            <a:endParaRPr lang="pl-PL" altLang="pl-PL" sz="1600" dirty="0" smtClean="0">
              <a:ea typeface="ＭＳ Ｐゴシック" panose="020B0600070205080204" pitchFamily="34" charset="-128"/>
            </a:endParaRPr>
          </a:p>
        </p:txBody>
      </p:sp>
      <p:sp>
        <p:nvSpPr>
          <p:cNvPr id="5" name="Prostokąt 4"/>
          <p:cNvSpPr/>
          <p:nvPr/>
        </p:nvSpPr>
        <p:spPr>
          <a:xfrm>
            <a:off x="439738" y="2909857"/>
            <a:ext cx="5165725" cy="311150"/>
          </a:xfrm>
          <a:prstGeom prst="rect">
            <a:avLst/>
          </a:prstGeom>
          <a:solidFill>
            <a:srgbClr val="6465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pl-PL" altLang="pl-PL" sz="1200" dirty="0">
                <a:ea typeface="ＭＳ Ｐゴシック" panose="020B0600070205080204" pitchFamily="34" charset="-128"/>
              </a:rPr>
              <a:t>Towarowa Giełda Energii</a:t>
            </a:r>
          </a:p>
        </p:txBody>
      </p:sp>
      <p:sp>
        <p:nvSpPr>
          <p:cNvPr id="16388" name="pole tekstowe 1"/>
          <p:cNvSpPr txBox="1">
            <a:spLocks noChangeArrowheads="1"/>
          </p:cNvSpPr>
          <p:nvPr/>
        </p:nvSpPr>
        <p:spPr bwMode="auto">
          <a:xfrm>
            <a:off x="496888" y="4545013"/>
            <a:ext cx="236537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r>
              <a:rPr lang="pl-PL" altLang="pl-PL" sz="1000" dirty="0" smtClean="0">
                <a:latin typeface="Verdana" panose="020B0604030504040204" pitchFamily="34" charset="0"/>
              </a:rPr>
              <a:t>Beata Wittmann</a:t>
            </a:r>
          </a:p>
          <a:p>
            <a:r>
              <a:rPr lang="pl-PL" altLang="pl-PL" sz="1000" dirty="0" smtClean="0">
                <a:latin typeface="Verdana" panose="020B0604030504040204" pitchFamily="34" charset="0"/>
              </a:rPr>
              <a:t>Międzyzdroje, maj 2016 </a:t>
            </a:r>
            <a:r>
              <a:rPr lang="pl-PL" altLang="pl-PL" sz="1000" dirty="0">
                <a:latin typeface="Verdana" panose="020B0604030504040204" pitchFamily="34" charset="0"/>
              </a:rPr>
              <a:t>r.</a:t>
            </a:r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3970" name="Picture 2" descr="http://www.lpgacademy.org/images/shutterstock_226215466_54a655ae667fe.jpg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836122" y="962771"/>
            <a:ext cx="3482393" cy="276516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1600" dirty="0"/>
              <a:t> </a:t>
            </a:r>
            <a:r>
              <a:rPr lang="pl-PL" sz="1600" dirty="0" smtClean="0"/>
              <a:t>Dlaczego </a:t>
            </a:r>
            <a:r>
              <a:rPr lang="pl-PL" sz="1600" dirty="0"/>
              <a:t>jeszcze TGE?</a:t>
            </a:r>
            <a:endParaRPr lang="en-GB" sz="1600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4294967295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10</a:t>
            </a:fld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idx="1"/>
          </p:nvPr>
        </p:nvSpPr>
        <p:spPr>
          <a:xfrm>
            <a:off x="-1" y="859987"/>
            <a:ext cx="3712739" cy="4194865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l-PL" sz="1050" u="sng" dirty="0">
                <a:solidFill>
                  <a:schemeClr val="tx1"/>
                </a:solidFill>
              </a:rPr>
              <a:t>Płynność </a:t>
            </a:r>
            <a:r>
              <a:rPr lang="pl-PL" sz="1050" u="sng" dirty="0" smtClean="0">
                <a:solidFill>
                  <a:schemeClr val="tx1"/>
                </a:solidFill>
              </a:rPr>
              <a:t>rynku</a:t>
            </a:r>
          </a:p>
          <a:p>
            <a:pPr marL="0" indent="0">
              <a:buNone/>
            </a:pPr>
            <a:r>
              <a:rPr lang="pl-PL" sz="1050" b="1" dirty="0" smtClean="0">
                <a:solidFill>
                  <a:schemeClr val="tx1"/>
                </a:solidFill>
              </a:rPr>
              <a:t>Giełda (i tylko giełda):</a:t>
            </a:r>
            <a:endParaRPr lang="en-GB" sz="1050" b="1" dirty="0">
              <a:solidFill>
                <a:schemeClr val="tx1"/>
              </a:solidFill>
            </a:endParaRPr>
          </a:p>
          <a:p>
            <a:r>
              <a:rPr lang="pl-PL" sz="1050" dirty="0">
                <a:solidFill>
                  <a:schemeClr val="tx1"/>
                </a:solidFill>
              </a:rPr>
              <a:t>Rozwój rynku gazu w Polsce był możliwy dzięki wprowadzonemu ustawowemu obowiązkowi sprzedaży gazu poprzez giełdę tzw. </a:t>
            </a:r>
            <a:r>
              <a:rPr lang="pl-PL" sz="1050" b="1" dirty="0">
                <a:solidFill>
                  <a:schemeClr val="tx1"/>
                </a:solidFill>
              </a:rPr>
              <a:t>obligo giełdowe. </a:t>
            </a:r>
            <a:endParaRPr lang="pl-PL" sz="1050" b="1" dirty="0" smtClean="0">
              <a:solidFill>
                <a:schemeClr val="tx1"/>
              </a:solidFill>
            </a:endParaRPr>
          </a:p>
          <a:p>
            <a:r>
              <a:rPr lang="pl-PL" sz="1050" b="1" dirty="0" smtClean="0">
                <a:solidFill>
                  <a:schemeClr val="tx1"/>
                </a:solidFill>
              </a:rPr>
              <a:t>Obligo</a:t>
            </a:r>
            <a:r>
              <a:rPr lang="pl-PL" sz="1050" dirty="0" smtClean="0">
                <a:solidFill>
                  <a:schemeClr val="tx1"/>
                </a:solidFill>
              </a:rPr>
              <a:t> zapewnia </a:t>
            </a:r>
            <a:r>
              <a:rPr lang="pl-PL" sz="1050" dirty="0">
                <a:solidFill>
                  <a:schemeClr val="tx1"/>
                </a:solidFill>
              </a:rPr>
              <a:t>dostawę gazu na rynek giełdowy, którego wolumen (55% gazu wprowadzonego do sieci) pozwala na </a:t>
            </a:r>
            <a:r>
              <a:rPr lang="pl-PL" sz="1050" b="1" dirty="0">
                <a:solidFill>
                  <a:schemeClr val="tx1"/>
                </a:solidFill>
              </a:rPr>
              <a:t>zbudowanie portfela zakupowego </a:t>
            </a:r>
            <a:r>
              <a:rPr lang="pl-PL" sz="1050" dirty="0">
                <a:solidFill>
                  <a:schemeClr val="tx1"/>
                </a:solidFill>
              </a:rPr>
              <a:t>przez uczestników rynku (obecnie prawie 60 czynnych uczestników) i </a:t>
            </a:r>
            <a:r>
              <a:rPr lang="pl-PL" sz="1050" b="1" dirty="0">
                <a:solidFill>
                  <a:schemeClr val="tx1"/>
                </a:solidFill>
              </a:rPr>
              <a:t>wyznaczenie rynkowej ceny </a:t>
            </a:r>
            <a:r>
              <a:rPr lang="pl-PL" sz="1050" dirty="0">
                <a:solidFill>
                  <a:schemeClr val="tx1"/>
                </a:solidFill>
              </a:rPr>
              <a:t>gazu na rynku SPOT i terminowym (RTT). </a:t>
            </a:r>
            <a:endParaRPr lang="pl-PL" sz="1050" dirty="0" smtClean="0">
              <a:solidFill>
                <a:schemeClr val="tx1"/>
              </a:solidFill>
            </a:endParaRPr>
          </a:p>
          <a:p>
            <a:r>
              <a:rPr lang="pl-PL" sz="1050" dirty="0" smtClean="0">
                <a:solidFill>
                  <a:schemeClr val="tx1"/>
                </a:solidFill>
              </a:rPr>
              <a:t>Wyznaczenie </a:t>
            </a:r>
            <a:r>
              <a:rPr lang="pl-PL" sz="1050" dirty="0">
                <a:solidFill>
                  <a:schemeClr val="tx1"/>
                </a:solidFill>
              </a:rPr>
              <a:t>indeksów cenowych przy odpowiednio </a:t>
            </a:r>
            <a:r>
              <a:rPr lang="pl-PL" sz="1050" b="1" dirty="0">
                <a:solidFill>
                  <a:schemeClr val="tx1"/>
                </a:solidFill>
              </a:rPr>
              <a:t>dużej płynności </a:t>
            </a:r>
            <a:r>
              <a:rPr lang="pl-PL" sz="1050" dirty="0">
                <a:solidFill>
                  <a:schemeClr val="tx1"/>
                </a:solidFill>
              </a:rPr>
              <a:t>jest niezbędne dla przeprowadzenia procesu deregulacji cen gazu planowanej w projekcie zmiany ustawy prawo energetyczne, ponieważ to </a:t>
            </a:r>
            <a:r>
              <a:rPr lang="pl-PL" sz="1050" b="1" dirty="0">
                <a:solidFill>
                  <a:schemeClr val="tx1"/>
                </a:solidFill>
              </a:rPr>
              <a:t>cena gazu na giełdzie </a:t>
            </a:r>
            <a:r>
              <a:rPr lang="pl-PL" sz="1050" b="1" dirty="0" smtClean="0">
                <a:solidFill>
                  <a:schemeClr val="tx1"/>
                </a:solidFill>
              </a:rPr>
              <a:t>wyznacza </a:t>
            </a:r>
            <a:r>
              <a:rPr lang="pl-PL" sz="1050" b="1" dirty="0">
                <a:solidFill>
                  <a:schemeClr val="tx1"/>
                </a:solidFill>
              </a:rPr>
              <a:t>trend cenowy na rynku gazu</a:t>
            </a:r>
            <a:r>
              <a:rPr lang="pl-PL" sz="1050" dirty="0">
                <a:solidFill>
                  <a:schemeClr val="tx1"/>
                </a:solidFill>
              </a:rPr>
              <a:t>. </a:t>
            </a:r>
            <a:endParaRPr lang="en-GB" sz="1050" dirty="0">
              <a:solidFill>
                <a:schemeClr val="tx1"/>
              </a:solidFill>
            </a:endParaRPr>
          </a:p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20556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946" name="Picture 2" descr="https://encrypted-tbn2.gstatic.com/images?q=tbn:ANd9GcRht5gUdxF_i72v4xAmqfmTsh_ObKwh3jehyPwg8b9VOcyzxuK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62" y="3579236"/>
            <a:ext cx="7559113" cy="17484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1600" dirty="0"/>
              <a:t> </a:t>
            </a:r>
            <a:r>
              <a:rPr lang="pl-PL" sz="1600" dirty="0" smtClean="0"/>
              <a:t>Dlaczego </a:t>
            </a:r>
            <a:r>
              <a:rPr lang="pl-PL" sz="1600" dirty="0"/>
              <a:t>jeszcze TGE?</a:t>
            </a:r>
            <a:endParaRPr lang="en-GB" sz="1600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4294967295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11</a:t>
            </a:fld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idx="1"/>
          </p:nvPr>
        </p:nvSpPr>
        <p:spPr>
          <a:xfrm>
            <a:off x="-1" y="859987"/>
            <a:ext cx="7559114" cy="4194865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pl-PL" sz="1050" u="sng" dirty="0" smtClean="0"/>
              <a:t>Kompleksowa oferta</a:t>
            </a:r>
            <a:endParaRPr lang="en-GB" sz="1050" dirty="0"/>
          </a:p>
          <a:p>
            <a:r>
              <a:rPr lang="pl-PL" sz="1050" dirty="0"/>
              <a:t>Oferta TGE jest kompleksowa, na rynku regulowanym prowadzonym przez TGE gaz dostępny jest na rynkach SPOT: </a:t>
            </a:r>
            <a:r>
              <a:rPr lang="pl-PL" sz="1050" dirty="0" err="1"/>
              <a:t>RDBg</a:t>
            </a:r>
            <a:r>
              <a:rPr lang="pl-PL" sz="1050" dirty="0"/>
              <a:t> i </a:t>
            </a:r>
            <a:r>
              <a:rPr lang="pl-PL" sz="1050" dirty="0" err="1"/>
              <a:t>RDNg</a:t>
            </a:r>
            <a:r>
              <a:rPr lang="pl-PL" sz="1050" dirty="0"/>
              <a:t> oraz terminowym w kontraktach: rocznych, sezonowych, kwartalnych, tygodniowych. </a:t>
            </a:r>
            <a:r>
              <a:rPr lang="pl-PL" sz="1050" b="1" dirty="0" smtClean="0"/>
              <a:t>Oferta oraz </a:t>
            </a:r>
            <a:r>
              <a:rPr lang="pl-PL" sz="1050" b="1" dirty="0"/>
              <a:t>płynność </a:t>
            </a:r>
            <a:r>
              <a:rPr lang="pl-PL" sz="1050" b="1" dirty="0" smtClean="0"/>
              <a:t>sprawiają, </a:t>
            </a:r>
            <a:r>
              <a:rPr lang="pl-PL" sz="1050" b="1" dirty="0"/>
              <a:t>że rynek giełdowy prowadzony przez TGE spełnia kryteria zawarte w art. 10 NC BAL i pozwala operatorowi sieci (Gaz-System) dokonać na giełdzie obrotu na cele bilansowania systemu</a:t>
            </a:r>
            <a:r>
              <a:rPr lang="pl-PL" sz="1050" dirty="0"/>
              <a:t>. Działanie operatora na rynku giełdowym TGE poprawia płynność rynku SPOT i zapewnia poczucie bezpieczeństwa pozostałym uczestnikom rynku</a:t>
            </a:r>
            <a:r>
              <a:rPr lang="pl-PL" sz="1050" dirty="0" smtClean="0"/>
              <a:t>.</a:t>
            </a:r>
            <a:endParaRPr lang="en-GB" sz="1050" dirty="0"/>
          </a:p>
          <a:p>
            <a:pPr marL="0" indent="0">
              <a:buNone/>
            </a:pPr>
            <a:r>
              <a:rPr lang="pl-PL" sz="1050" u="sng" dirty="0"/>
              <a:t>Sprawdzone </a:t>
            </a:r>
            <a:r>
              <a:rPr lang="pl-PL" sz="1050" u="sng" dirty="0" smtClean="0"/>
              <a:t>rozwiązania</a:t>
            </a:r>
            <a:endParaRPr lang="en-GB" sz="1050" dirty="0"/>
          </a:p>
          <a:p>
            <a:r>
              <a:rPr lang="pl-PL" sz="1050" dirty="0"/>
              <a:t>Liberalizacja rynku gazu w Polsce rozpoczęła się później niż w innych krajach europejskich i później niż </a:t>
            </a:r>
            <a:r>
              <a:rPr lang="pl-PL" sz="1050" dirty="0" smtClean="0"/>
              <a:t>na </a:t>
            </a:r>
            <a:r>
              <a:rPr lang="pl-PL" sz="1050" dirty="0"/>
              <a:t>rynku energii. Dzięki temu proces ten mógł być przygotowany na </a:t>
            </a:r>
            <a:r>
              <a:rPr lang="pl-PL" sz="1050" b="1" dirty="0"/>
              <a:t>bazie sprawdzonych rozwiązań istniejących w Europie i na innych rynkach.</a:t>
            </a:r>
            <a:endParaRPr lang="en-GB" sz="1050" b="1" dirty="0"/>
          </a:p>
          <a:p>
            <a:endParaRPr lang="en-GB" sz="1050" dirty="0"/>
          </a:p>
          <a:p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95532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ekstu 1"/>
          <p:cNvSpPr>
            <a:spLocks noGrp="1"/>
          </p:cNvSpPr>
          <p:nvPr>
            <p:ph type="body" sz="quarter" idx="10"/>
          </p:nvPr>
        </p:nvSpPr>
        <p:spPr>
          <a:xfrm>
            <a:off x="273090" y="2509308"/>
            <a:ext cx="6730414" cy="807195"/>
          </a:xfrm>
        </p:spPr>
        <p:txBody>
          <a:bodyPr/>
          <a:lstStyle/>
          <a:p>
            <a:r>
              <a:rPr lang="pl-PL" dirty="0"/>
              <a:t>P</a:t>
            </a:r>
            <a:r>
              <a:rPr lang="pl-PL" dirty="0" smtClean="0"/>
              <a:t>rojekty TGE</a:t>
            </a:r>
            <a:endParaRPr lang="pl-PL" dirty="0"/>
          </a:p>
        </p:txBody>
      </p:sp>
      <p:pic>
        <p:nvPicPr>
          <p:cNvPr id="3" name="Obraz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" y="-1"/>
            <a:ext cx="2200602" cy="22006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0050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7" name="Tytuł 4"/>
          <p:cNvSpPr>
            <a:spLocks noGrp="1"/>
          </p:cNvSpPr>
          <p:nvPr>
            <p:ph type="title"/>
          </p:nvPr>
        </p:nvSpPr>
        <p:spPr>
          <a:xfrm>
            <a:off x="223838" y="-6441"/>
            <a:ext cx="5899150" cy="673768"/>
          </a:xfrm>
        </p:spPr>
        <p:txBody>
          <a:bodyPr/>
          <a:lstStyle/>
          <a:p>
            <a:r>
              <a:rPr lang="pl-PL" altLang="pl-PL" sz="1600" dirty="0" smtClean="0"/>
              <a:t/>
            </a:r>
            <a:br>
              <a:rPr lang="pl-PL" altLang="pl-PL" sz="1600" dirty="0" smtClean="0"/>
            </a:br>
            <a:r>
              <a:rPr lang="pl-PL" altLang="pl-PL" sz="1600" dirty="0" smtClean="0"/>
              <a:t>Hub gazowy w Polsce</a:t>
            </a:r>
            <a:br>
              <a:rPr lang="pl-PL" altLang="pl-PL" sz="1600" dirty="0" smtClean="0"/>
            </a:br>
            <a:r>
              <a:rPr lang="pl-PL" altLang="pl-PL" sz="1200" dirty="0" smtClean="0"/>
              <a:t>Warunki niezbędne do uruchomienia</a:t>
            </a:r>
          </a:p>
        </p:txBody>
      </p:sp>
      <p:graphicFrame>
        <p:nvGraphicFramePr>
          <p:cNvPr id="7" name="Diagram 6"/>
          <p:cNvGraphicFramePr/>
          <p:nvPr>
            <p:extLst>
              <p:ext uri="{D42A27DB-BD31-4B8C-83A1-F6EECF244321}">
                <p14:modId xmlns:p14="http://schemas.microsoft.com/office/powerpoint/2010/main" val="2553216558"/>
              </p:ext>
            </p:extLst>
          </p:nvPr>
        </p:nvGraphicFramePr>
        <p:xfrm>
          <a:off x="349175" y="1138878"/>
          <a:ext cx="3424422" cy="26496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26629" name="Symbol zastępczy zawartości 5"/>
          <p:cNvSpPr>
            <a:spLocks noGrp="1"/>
          </p:cNvSpPr>
          <p:nvPr>
            <p:ph idx="1"/>
          </p:nvPr>
        </p:nvSpPr>
        <p:spPr bwMode="auto">
          <a:xfrm>
            <a:off x="4048125" y="1273175"/>
            <a:ext cx="3006725" cy="3000375"/>
          </a:xfrm>
          <a:noFill/>
          <a:ln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ts val="288"/>
              </a:spcBef>
              <a:spcAft>
                <a:spcPts val="288"/>
              </a:spcAft>
            </a:pPr>
            <a:endParaRPr lang="pl-PL" altLang="pl-PL" sz="700" dirty="0" smtClean="0">
              <a:solidFill>
                <a:srgbClr val="404040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pl-PL" altLang="pl-PL" dirty="0" smtClean="0">
                <a:solidFill>
                  <a:srgbClr val="404040"/>
                </a:solidFill>
              </a:rPr>
              <a:t>Wypracowanie optymalnych rozwiązań </a:t>
            </a:r>
            <a:br>
              <a:rPr lang="pl-PL" altLang="pl-PL" dirty="0" smtClean="0">
                <a:solidFill>
                  <a:srgbClr val="404040"/>
                </a:solidFill>
              </a:rPr>
            </a:br>
            <a:r>
              <a:rPr lang="pl-PL" altLang="pl-PL" dirty="0" smtClean="0">
                <a:solidFill>
                  <a:srgbClr val="404040"/>
                </a:solidFill>
              </a:rPr>
              <a:t>w ramach mechanizmów rynkowych: 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handel 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I</a:t>
            </a:r>
            <a:r>
              <a:rPr lang="pl-PL" altLang="pl-PL" sz="1000" dirty="0" smtClean="0">
                <a:solidFill>
                  <a:srgbClr val="404040"/>
                </a:solidFill>
              </a:rPr>
              <a:t>nfrastruktura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>
                <a:solidFill>
                  <a:srgbClr val="404040"/>
                </a:solidFill>
              </a:rPr>
              <a:t>n</a:t>
            </a:r>
            <a:r>
              <a:rPr lang="pl-PL" altLang="pl-PL" sz="1000" dirty="0" smtClean="0">
                <a:solidFill>
                  <a:srgbClr val="404040"/>
                </a:solidFill>
              </a:rPr>
              <a:t>owe źródła gazu</a:t>
            </a:r>
            <a:endParaRPr lang="pl-PL" altLang="pl-PL" sz="1000" dirty="0" smtClean="0">
              <a:solidFill>
                <a:srgbClr val="404040"/>
              </a:solidFill>
            </a:endParaRP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Font typeface="Wingdings" panose="05000000000000000000" pitchFamily="2" charset="2"/>
              <a:buNone/>
            </a:pPr>
            <a:endParaRPr lang="pl-PL" altLang="pl-PL" sz="1000" dirty="0" smtClean="0">
              <a:solidFill>
                <a:srgbClr val="404040"/>
              </a:solidFill>
            </a:endParaRPr>
          </a:p>
          <a:p>
            <a:pPr>
              <a:lnSpc>
                <a:spcPct val="100000"/>
              </a:lnSpc>
              <a:spcBef>
                <a:spcPct val="0"/>
              </a:spcBef>
            </a:pPr>
            <a:r>
              <a:rPr lang="pl-PL" altLang="pl-PL" dirty="0" smtClean="0">
                <a:solidFill>
                  <a:srgbClr val="404040"/>
                </a:solidFill>
              </a:rPr>
              <a:t>Określenie optymalnych narzędzi </a:t>
            </a:r>
            <a:br>
              <a:rPr lang="pl-PL" altLang="pl-PL" dirty="0" smtClean="0">
                <a:solidFill>
                  <a:srgbClr val="404040"/>
                </a:solidFill>
              </a:rPr>
            </a:br>
            <a:r>
              <a:rPr lang="pl-PL" altLang="pl-PL" dirty="0" smtClean="0">
                <a:solidFill>
                  <a:srgbClr val="404040"/>
                </a:solidFill>
              </a:rPr>
              <a:t>w zakresie upowszechniania jednolitych usług: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przesyłowych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magazynowych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bilansowych</a:t>
            </a:r>
          </a:p>
          <a:p>
            <a:pPr marL="520700" lvl="1" indent="-200025">
              <a:lnSpc>
                <a:spcPct val="100000"/>
              </a:lnSpc>
              <a:spcBef>
                <a:spcPct val="0"/>
              </a:spcBef>
              <a:buClr>
                <a:srgbClr val="86BC25"/>
              </a:buClr>
            </a:pPr>
            <a:r>
              <a:rPr lang="pl-PL" altLang="pl-PL" sz="1000" dirty="0" smtClean="0">
                <a:solidFill>
                  <a:srgbClr val="404040"/>
                </a:solidFill>
              </a:rPr>
              <a:t>zwiększających bezpieczeństwo dostaw</a:t>
            </a:r>
          </a:p>
        </p:txBody>
      </p:sp>
      <p:sp>
        <p:nvSpPr>
          <p:cNvPr id="11" name="Symbol zastępczy zawartości 1"/>
          <p:cNvSpPr txBox="1">
            <a:spLocks/>
          </p:cNvSpPr>
          <p:nvPr/>
        </p:nvSpPr>
        <p:spPr>
          <a:xfrm>
            <a:off x="4048125" y="1011238"/>
            <a:ext cx="3006725" cy="288925"/>
          </a:xfrm>
          <a:prstGeom prst="rect">
            <a:avLst/>
          </a:prstGeom>
          <a:solidFill>
            <a:srgbClr val="68B133"/>
          </a:solidFill>
          <a:ln>
            <a:solidFill>
              <a:srgbClr val="86BC43"/>
            </a:solidFill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/>
          <a:lstStyle>
            <a:lvl1pPr marL="168275" defTabSz="344488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520700" indent="-200025" defTabSz="344488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842963" indent="-200025" defTabSz="344488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163638" indent="-200025" defTabSz="344488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1444625" indent="-160338" defTabSz="344488" eaLnBrk="0" hangingPunct="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1901825" indent="-160338" defTabSz="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359025" indent="-160338" defTabSz="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2816225" indent="-160338" defTabSz="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273425" indent="-160338" defTabSz="3444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lnSpc>
                <a:spcPct val="120000"/>
              </a:lnSpc>
              <a:buClr>
                <a:srgbClr val="68B133"/>
              </a:buClr>
              <a:buFont typeface="Symbol" panose="05050102010706020507" pitchFamily="18" charset="2"/>
              <a:buNone/>
              <a:defRPr/>
            </a:pPr>
            <a:r>
              <a:rPr lang="pl-PL" altLang="pl-PL" sz="900" b="1" dirty="0" smtClean="0">
                <a:solidFill>
                  <a:schemeClr val="bg1"/>
                </a:solidFill>
                <a:latin typeface="Verdana" panose="020B0604030504040204" pitchFamily="34" charset="0"/>
              </a:rPr>
              <a:t>Obszary i narzędzia współpracy</a:t>
            </a:r>
          </a:p>
        </p:txBody>
      </p:sp>
      <p:sp>
        <p:nvSpPr>
          <p:cNvPr id="13" name="pole tekstowe 12"/>
          <p:cNvSpPr txBox="1"/>
          <p:nvPr/>
        </p:nvSpPr>
        <p:spPr>
          <a:xfrm>
            <a:off x="417513" y="1931988"/>
            <a:ext cx="989012" cy="5556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defTabSz="345355">
              <a:defRPr/>
            </a:pPr>
            <a:r>
              <a:rPr lang="pl-PL" sz="1503" dirty="0">
                <a:solidFill>
                  <a:srgbClr val="FFFFFF"/>
                </a:solidFill>
                <a:latin typeface="+mj-lt"/>
                <a:ea typeface="ＭＳ Ｐゴシック" charset="0"/>
              </a:rPr>
              <a:t>HUB POLSKA</a:t>
            </a:r>
          </a:p>
        </p:txBody>
      </p:sp>
      <p:sp>
        <p:nvSpPr>
          <p:cNvPr id="8" name="Rectangle 39"/>
          <p:cNvSpPr/>
          <p:nvPr/>
        </p:nvSpPr>
        <p:spPr>
          <a:xfrm>
            <a:off x="485775" y="4297363"/>
            <a:ext cx="6569075" cy="504825"/>
          </a:xfrm>
          <a:prstGeom prst="rect">
            <a:avLst/>
          </a:prstGeom>
          <a:solidFill>
            <a:srgbClr val="646567"/>
          </a:solidFill>
          <a:ln w="9525" cap="flat" cmpd="sng" algn="ctr">
            <a:noFill/>
            <a:prstDash val="solid"/>
          </a:ln>
          <a:effectLst/>
        </p:spPr>
        <p:txBody>
          <a:bodyPr lIns="0" tIns="0" rIns="0" bIns="0" anchor="ctr"/>
          <a:lstStyle/>
          <a:p>
            <a:pPr algn="ctr" defTabSz="345355">
              <a:defRPr/>
            </a:pPr>
            <a:r>
              <a:rPr lang="pl-PL" sz="940" b="1" dirty="0">
                <a:solidFill>
                  <a:srgbClr val="FFFFFF"/>
                </a:solidFill>
                <a:latin typeface="+mn-lt"/>
                <a:ea typeface="ＭＳ Ｐゴシック" charset="0"/>
                <a:cs typeface="Simplified Arabic Fixed" panose="02070309020205020404" pitchFamily="49" charset="-78"/>
              </a:rPr>
              <a:t>27 maja 2015 roku Towarowa Giełda Energii i Gaz-System podpisały list intencyjny w zakresie rozwoju Hurtowego Rynku Gazu w Polsce (Hub Gazowy Polska)</a:t>
            </a:r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C6B2BB5-8D46-4711-9307-EDBEAEC73E84}" type="slidenum">
              <a:rPr lang="pl-PL" altLang="pl-PL" smtClean="0"/>
              <a:pPr>
                <a:defRPr/>
              </a:pPr>
              <a:t>13</a:t>
            </a:fld>
            <a:endParaRPr lang="pl-PL" altLang="pl-PL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unkty wirtualne – zmiany w IRiESP</a:t>
            </a:r>
            <a:endParaRPr lang="pl-PL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4294967295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>
                <a:solidFill>
                  <a:srgbClr val="FFFFFF"/>
                </a:solidFill>
              </a:rPr>
              <a:pPr/>
              <a:t>14</a:t>
            </a:fld>
            <a:endParaRPr lang="pl-PL" dirty="0">
              <a:solidFill>
                <a:srgbClr val="FFFFFF"/>
              </a:solidFill>
            </a:endParaRPr>
          </a:p>
        </p:txBody>
      </p:sp>
      <p:pic>
        <p:nvPicPr>
          <p:cNvPr id="6" name="Symbol zastępczy zawartości 5" descr="mapaPLgaz.PNG"/>
          <p:cNvPicPr>
            <a:picLocks noGrp="1" noChangeAspect="1"/>
          </p:cNvPicPr>
          <p:nvPr>
            <p:ph idx="1"/>
          </p:nvPr>
        </p:nvPicPr>
        <p:blipFill rotWithShape="1">
          <a:blip r:embed="rId2" cstate="print"/>
          <a:srcRect t="869" b="1270"/>
          <a:stretch/>
        </p:blipFill>
        <p:spPr>
          <a:xfrm>
            <a:off x="2274909" y="831155"/>
            <a:ext cx="4352279" cy="3922252"/>
          </a:xfrm>
          <a:prstGeom prst="rect">
            <a:avLst/>
          </a:prstGeom>
        </p:spPr>
      </p:pic>
      <p:cxnSp>
        <p:nvCxnSpPr>
          <p:cNvPr id="8" name="Łącznik prosty 7"/>
          <p:cNvCxnSpPr/>
          <p:nvPr/>
        </p:nvCxnSpPr>
        <p:spPr>
          <a:xfrm>
            <a:off x="358176" y="1714832"/>
            <a:ext cx="282198" cy="0"/>
          </a:xfrm>
          <a:prstGeom prst="line">
            <a:avLst/>
          </a:prstGeom>
          <a:ln w="38100" cmpd="sng">
            <a:solidFill>
              <a:srgbClr val="C6002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2" name="Łącznik prosty 11"/>
          <p:cNvCxnSpPr/>
          <p:nvPr/>
        </p:nvCxnSpPr>
        <p:spPr>
          <a:xfrm>
            <a:off x="358176" y="2410353"/>
            <a:ext cx="282198" cy="0"/>
          </a:xfrm>
          <a:prstGeom prst="line">
            <a:avLst/>
          </a:prstGeom>
          <a:ln w="38100" cmpd="sng">
            <a:solidFill>
              <a:srgbClr val="00009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3" name="Łącznik prosty 12"/>
          <p:cNvCxnSpPr/>
          <p:nvPr/>
        </p:nvCxnSpPr>
        <p:spPr>
          <a:xfrm>
            <a:off x="358176" y="3116276"/>
            <a:ext cx="282198" cy="0"/>
          </a:xfrm>
          <a:prstGeom prst="line">
            <a:avLst/>
          </a:prstGeom>
          <a:ln w="19050" cmpd="sng">
            <a:solidFill>
              <a:srgbClr val="3366FF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Symbol zastępczy zawartości 5"/>
          <p:cNvSpPr txBox="1">
            <a:spLocks/>
          </p:cNvSpPr>
          <p:nvPr/>
        </p:nvSpPr>
        <p:spPr>
          <a:xfrm>
            <a:off x="277923" y="1302405"/>
            <a:ext cx="1816838" cy="26916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40990" indent="-240990" algn="l" defTabSz="642640" rtl="0" eaLnBrk="1" latinLnBrk="0" hangingPunct="1">
              <a:lnSpc>
                <a:spcPct val="120000"/>
              </a:lnSpc>
              <a:spcBef>
                <a:spcPts val="703"/>
              </a:spcBef>
              <a:buClr>
                <a:srgbClr val="68B133"/>
              </a:buClr>
              <a:buFont typeface="Symbol" panose="05050102010706020507" pitchFamily="18" charset="2"/>
              <a:buChar char="¨"/>
              <a:defRPr sz="10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 algn="l" defTabSz="642640" rtl="0" eaLnBrk="1" latinLnBrk="0" hangingPunct="1">
              <a:lnSpc>
                <a:spcPct val="120000"/>
              </a:lnSpc>
              <a:spcBef>
                <a:spcPts val="351"/>
              </a:spcBef>
              <a:buFont typeface="Wingdings" panose="05000000000000000000" pitchFamily="2" charset="2"/>
              <a:buChar char="ü"/>
              <a:defRPr sz="9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 algn="l" defTabSz="642640" rtl="0" eaLnBrk="1" latinLnBrk="0" hangingPunct="1">
              <a:lnSpc>
                <a:spcPct val="120000"/>
              </a:lnSpc>
              <a:spcBef>
                <a:spcPts val="351"/>
              </a:spcBef>
              <a:buFont typeface="Symbol" panose="05050102010706020507" pitchFamily="18" charset="2"/>
              <a:buChar char=""/>
              <a:defRPr sz="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Symbol" panose="05050102010706020507" pitchFamily="18" charset="2"/>
              <a:buChar char=""/>
              <a:defRPr sz="843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44594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76726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858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90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122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Symbol" panose="05050102010706020507" pitchFamily="18" charset="2"/>
              <a:buNone/>
            </a:pPr>
            <a:endParaRPr lang="pl-PL" b="1" dirty="0" smtClean="0"/>
          </a:p>
          <a:p>
            <a:pPr marL="0" indent="0">
              <a:lnSpc>
                <a:spcPct val="100000"/>
              </a:lnSpc>
              <a:buFont typeface="Symbol" panose="05050102010706020507" pitchFamily="18" charset="2"/>
              <a:buNone/>
            </a:pPr>
            <a:r>
              <a:rPr lang="pl-PL" dirty="0" smtClean="0"/>
              <a:t>          dotychczasowy  obszar bilansujący - punkt wirtualny dla gazu wysokometanowego</a:t>
            </a:r>
          </a:p>
          <a:p>
            <a:pPr marL="0" lvl="1" indent="0">
              <a:lnSpc>
                <a:spcPct val="100000"/>
              </a:lnSpc>
              <a:spcBef>
                <a:spcPts val="703"/>
              </a:spcBef>
              <a:buClr>
                <a:srgbClr val="68B133"/>
              </a:buClr>
              <a:buFont typeface="Wingdings" panose="05000000000000000000" pitchFamily="2" charset="2"/>
              <a:buNone/>
            </a:pPr>
            <a:r>
              <a:rPr lang="pl-PL" sz="1000" dirty="0" smtClean="0"/>
              <a:t>          nowy obszar bilansujący -  </a:t>
            </a:r>
            <a:r>
              <a:rPr lang="pl-PL" sz="1000" dirty="0"/>
              <a:t>punkt wirtualny </a:t>
            </a:r>
            <a:r>
              <a:rPr lang="pl-PL" sz="1000" dirty="0" smtClean="0"/>
              <a:t>w systemie gazu SGT</a:t>
            </a:r>
          </a:p>
          <a:p>
            <a:pPr marL="0" lvl="1" indent="0">
              <a:lnSpc>
                <a:spcPct val="100000"/>
              </a:lnSpc>
              <a:spcBef>
                <a:spcPts val="703"/>
              </a:spcBef>
              <a:buClr>
                <a:srgbClr val="68B133"/>
              </a:buClr>
              <a:buFont typeface="Wingdings" panose="05000000000000000000" pitchFamily="2" charset="2"/>
              <a:buNone/>
            </a:pPr>
            <a:r>
              <a:rPr lang="pl-PL" sz="1000" dirty="0" smtClean="0"/>
              <a:t> </a:t>
            </a:r>
            <a:r>
              <a:rPr lang="pl-PL" sz="1000" dirty="0"/>
              <a:t> </a:t>
            </a:r>
            <a:r>
              <a:rPr lang="pl-PL" sz="1000" dirty="0" smtClean="0"/>
              <a:t>       nowy obszar </a:t>
            </a:r>
            <a:r>
              <a:rPr lang="pl-PL" sz="1000" dirty="0"/>
              <a:t>bilansujący -  punkt wirtualny dla gazu zaazotowanego</a:t>
            </a:r>
            <a:endParaRPr lang="pl-PL" sz="1000" dirty="0" smtClean="0"/>
          </a:p>
        </p:txBody>
      </p:sp>
    </p:spTree>
    <p:extLst>
      <p:ext uri="{BB962C8B-B14F-4D97-AF65-F5344CB8AC3E}">
        <p14:creationId xmlns:p14="http://schemas.microsoft.com/office/powerpoint/2010/main" val="4172444335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pl-PL" b="1" dirty="0">
                <a:latin typeface="+mj-lt"/>
              </a:rPr>
              <a:t>O</a:t>
            </a:r>
            <a:r>
              <a:rPr lang="pl-PL" b="1" dirty="0" smtClean="0">
                <a:latin typeface="+mj-lt"/>
              </a:rPr>
              <a:t>brót </a:t>
            </a:r>
            <a:r>
              <a:rPr lang="pl-PL" b="1" dirty="0">
                <a:latin typeface="+mj-lt"/>
              </a:rPr>
              <a:t>gazem ziemnym na platformie </a:t>
            </a:r>
            <a:r>
              <a:rPr lang="pl-PL" b="1" dirty="0" err="1">
                <a:latin typeface="+mj-lt"/>
              </a:rPr>
              <a:t>InfoEngineOTC</a:t>
            </a:r>
            <a:r>
              <a:rPr lang="pl-PL" b="1" dirty="0">
                <a:latin typeface="+mj-lt"/>
              </a:rPr>
              <a:t> będzie funkcjonował w ramach </a:t>
            </a:r>
            <a:r>
              <a:rPr lang="pl-PL" b="1" dirty="0" smtClean="0">
                <a:latin typeface="+mj-lt"/>
              </a:rPr>
              <a:t>rynków:</a:t>
            </a:r>
          </a:p>
          <a:p>
            <a:pPr lvl="1"/>
            <a:r>
              <a:rPr lang="pl-PL" b="1" dirty="0" err="1" smtClean="0">
                <a:latin typeface="+mj-lt"/>
              </a:rPr>
              <a:t>RDBg</a:t>
            </a:r>
            <a:r>
              <a:rPr lang="pl-PL" b="1" dirty="0" smtClean="0">
                <a:latin typeface="+mj-lt"/>
              </a:rPr>
              <a:t> </a:t>
            </a:r>
            <a:r>
              <a:rPr lang="pl-PL" b="1" dirty="0" smtClean="0">
                <a:latin typeface="+mj-lt"/>
              </a:rPr>
              <a:t>– uruchomiony</a:t>
            </a:r>
            <a:endParaRPr lang="pl-PL" b="1" dirty="0" smtClean="0">
              <a:latin typeface="+mj-lt"/>
            </a:endParaRPr>
          </a:p>
          <a:p>
            <a:pPr lvl="1"/>
            <a:r>
              <a:rPr lang="pl-PL" b="1" dirty="0" smtClean="0">
                <a:latin typeface="+mj-lt"/>
              </a:rPr>
              <a:t>RTT – produkty </a:t>
            </a:r>
            <a:r>
              <a:rPr lang="pl-PL" b="1" dirty="0" smtClean="0">
                <a:latin typeface="+mj-lt"/>
              </a:rPr>
              <a:t>miesięczne, kwartalne, roczne</a:t>
            </a:r>
            <a:endParaRPr lang="pl-PL" dirty="0"/>
          </a:p>
          <a:p>
            <a:r>
              <a:rPr lang="pl-PL" dirty="0" smtClean="0"/>
              <a:t>Możliwość </a:t>
            </a:r>
            <a:r>
              <a:rPr lang="pl-PL" dirty="0"/>
              <a:t>składania ofert 24 / 7, przez 365 dni w </a:t>
            </a:r>
            <a:r>
              <a:rPr lang="pl-PL" dirty="0" smtClean="0"/>
              <a:t>roku</a:t>
            </a:r>
            <a:endParaRPr lang="pl-PL" dirty="0"/>
          </a:p>
          <a:p>
            <a:r>
              <a:rPr lang="pl-PL" b="1" dirty="0" smtClean="0"/>
              <a:t>Każdy </a:t>
            </a:r>
            <a:r>
              <a:rPr lang="pl-PL" b="1" dirty="0"/>
              <a:t>z uczestników przesyła do administratora platformy aktualną listę Partnerów handlowych, wskazując Podmioty, z którymi ma podpisane umowy partnerskie a tym samym może zawierać </a:t>
            </a:r>
            <a:r>
              <a:rPr lang="pl-PL" b="1" dirty="0" smtClean="0"/>
              <a:t>transakcje</a:t>
            </a:r>
            <a:endParaRPr lang="pl-PL" dirty="0"/>
          </a:p>
          <a:p>
            <a:r>
              <a:rPr lang="pl-PL" b="1" dirty="0" smtClean="0"/>
              <a:t>Platforma </a:t>
            </a:r>
            <a:r>
              <a:rPr lang="pl-PL" b="1" dirty="0"/>
              <a:t>brokerska obrotu towarami oparta o formułę OTC (</a:t>
            </a:r>
            <a:r>
              <a:rPr lang="pl-PL" b="1" dirty="0" err="1"/>
              <a:t>OverThe</a:t>
            </a:r>
            <a:r>
              <a:rPr lang="pl-PL" b="1" dirty="0"/>
              <a:t> </a:t>
            </a:r>
            <a:r>
              <a:rPr lang="pl-PL" b="1" dirty="0" err="1"/>
              <a:t>Counter</a:t>
            </a:r>
            <a:r>
              <a:rPr lang="pl-PL" b="1" dirty="0"/>
              <a:t>), rynek </a:t>
            </a:r>
            <a:r>
              <a:rPr lang="pl-PL" b="1" dirty="0" smtClean="0"/>
              <a:t>pozagiełdowy</a:t>
            </a:r>
          </a:p>
          <a:p>
            <a:r>
              <a:rPr lang="pl-PL" dirty="0"/>
              <a:t>Nadzór administratora rynku we wszystkie dni tygodnia w godzinach 8 - 18</a:t>
            </a:r>
          </a:p>
          <a:p>
            <a:r>
              <a:rPr lang="pl-PL" dirty="0"/>
              <a:t>Transakcje będą zawierane w oparciu o umowy partnerskie np. (EFET). Model docelowy funkcjonowania platformy zakłada wybór w zakresie zabezpieczeń i rozliczeń transakcji:</a:t>
            </a:r>
          </a:p>
          <a:p>
            <a:pPr lvl="1"/>
            <a:r>
              <a:rPr lang="pl-PL" dirty="0"/>
              <a:t>określony w umowie </a:t>
            </a:r>
            <a:r>
              <a:rPr lang="pl-PL" dirty="0" smtClean="0"/>
              <a:t>bilateralnej</a:t>
            </a:r>
            <a:endParaRPr lang="pl-PL" dirty="0"/>
          </a:p>
          <a:p>
            <a:pPr lvl="1"/>
            <a:r>
              <a:rPr lang="pl-PL" dirty="0"/>
              <a:t>gwarantowany przez IRGIT </a:t>
            </a:r>
            <a:r>
              <a:rPr lang="pl-PL" dirty="0" smtClean="0"/>
              <a:t>S.A</a:t>
            </a:r>
            <a:endParaRPr lang="pl-PL" dirty="0"/>
          </a:p>
          <a:p>
            <a:r>
              <a:rPr lang="pl-PL" dirty="0"/>
              <a:t>Anonimowa gra rynkowa do chwili zawarcia transakcji, po jej zawarciu następnie ujawnienie Stron transakcji</a:t>
            </a:r>
          </a:p>
          <a:p>
            <a:endParaRPr lang="pl-PL" dirty="0"/>
          </a:p>
        </p:txBody>
      </p:sp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/>
              <a:t>Obrót gazem ziemnym na platformie brokerskiej </a:t>
            </a:r>
            <a:r>
              <a:rPr lang="pl-PL" dirty="0" smtClean="0"/>
              <a:t>InfoEngine</a:t>
            </a:r>
            <a:endParaRPr lang="pl-PL" dirty="0"/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42BF78-0EB1-471F-8C89-2C601CA3912C}" type="slidenum">
              <a:rPr lang="pl-PL" altLang="pl-PL" smtClean="0"/>
              <a:pPr>
                <a:defRPr/>
              </a:pPr>
              <a:t>15</a:t>
            </a:fld>
            <a:endParaRPr lang="pl-PL" altLang="pl-PL"/>
          </a:p>
        </p:txBody>
      </p:sp>
    </p:spTree>
    <p:extLst>
      <p:ext uri="{BB962C8B-B14F-4D97-AF65-F5344CB8AC3E}">
        <p14:creationId xmlns:p14="http://schemas.microsoft.com/office/powerpoint/2010/main" val="223579333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rostokąt 1"/>
          <p:cNvSpPr>
            <a:spLocks noChangeArrowheads="1"/>
          </p:cNvSpPr>
          <p:nvPr/>
        </p:nvSpPr>
        <p:spPr bwMode="auto">
          <a:xfrm>
            <a:off x="403693" y="2215736"/>
            <a:ext cx="2752727" cy="2277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365125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defTabSz="365125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defTabSz="365125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defTabSz="365125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defTabSz="365125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1925638" indent="360363" defTabSz="365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382838" indent="360363" defTabSz="365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2840038" indent="360363" defTabSz="365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297238" indent="360363" defTabSz="365125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>
              <a:spcBef>
                <a:spcPct val="20000"/>
              </a:spcBef>
            </a:pPr>
            <a:r>
              <a:rPr lang="pl-PL" altLang="pl-PL" sz="1000" b="1" dirty="0">
                <a:solidFill>
                  <a:srgbClr val="68B133"/>
                </a:solidFill>
                <a:latin typeface="Verdana" panose="020B0604030504040204" pitchFamily="34" charset="0"/>
              </a:rPr>
              <a:t>Kontakt:</a:t>
            </a:r>
            <a:endParaRPr lang="pl-PL" altLang="pl-PL" sz="1000" dirty="0">
              <a:solidFill>
                <a:srgbClr val="7F7F7F"/>
              </a:solidFill>
              <a:latin typeface="Verdana" panose="020B0604030504040204" pitchFamily="34" charset="0"/>
            </a:endParaRPr>
          </a:p>
          <a:p>
            <a:pPr>
              <a:spcBef>
                <a:spcPct val="20000"/>
              </a:spcBef>
            </a:pPr>
            <a:endParaRPr lang="pl-PL" altLang="pl-PL" sz="1000" b="1" dirty="0" smtClean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</a:endParaRPr>
          </a:p>
          <a:p>
            <a:pPr>
              <a:spcBef>
                <a:spcPct val="20000"/>
              </a:spcBef>
            </a:pPr>
            <a:r>
              <a:rPr lang="pl-PL" altLang="pl-PL" sz="1000" b="1" dirty="0" smtClean="0">
                <a:solidFill>
                  <a:schemeClr val="bg1">
                    <a:lumMod val="50000"/>
                  </a:schemeClr>
                </a:solidFill>
                <a:latin typeface="Verdana" panose="020B0604030504040204" pitchFamily="34" charset="0"/>
              </a:rPr>
              <a:t>Beata Wittmann</a:t>
            </a:r>
            <a:endParaRPr lang="pl-PL" altLang="pl-PL" sz="1000" b="1" dirty="0">
              <a:solidFill>
                <a:schemeClr val="bg1">
                  <a:lumMod val="50000"/>
                </a:schemeClr>
              </a:solidFill>
              <a:latin typeface="Verdana" panose="020B0604030504040204" pitchFamily="34" charset="0"/>
            </a:endParaRPr>
          </a:p>
          <a:p>
            <a:pPr>
              <a:spcBef>
                <a:spcPct val="20000"/>
              </a:spcBef>
            </a:pP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Dyrektor </a:t>
            </a:r>
          </a:p>
          <a:p>
            <a:pPr>
              <a:spcBef>
                <a:spcPct val="20000"/>
              </a:spcBef>
            </a:pP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Biuro Paliw Płynnych i Gazu </a:t>
            </a:r>
          </a:p>
          <a:p>
            <a:pPr>
              <a:spcBef>
                <a:spcPct val="20000"/>
              </a:spcBef>
            </a:pPr>
            <a:endParaRPr lang="pl-PL" altLang="pl-PL" sz="1000" dirty="0" smtClean="0">
              <a:solidFill>
                <a:srgbClr val="7F7F7F"/>
              </a:solidFill>
              <a:latin typeface="Verdana" panose="020B0604030504040204" pitchFamily="34" charset="0"/>
            </a:endParaRPr>
          </a:p>
          <a:p>
            <a:pPr>
              <a:spcBef>
                <a:spcPct val="20000"/>
              </a:spcBef>
            </a:pP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Towarowa </a:t>
            </a: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Giełda Energii S.A.</a:t>
            </a:r>
          </a:p>
          <a:p>
            <a:pPr>
              <a:spcBef>
                <a:spcPct val="20000"/>
              </a:spcBef>
            </a:pP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ul. Poleczki 23 bud. H</a:t>
            </a:r>
          </a:p>
          <a:p>
            <a:pPr>
              <a:spcBef>
                <a:spcPct val="20000"/>
              </a:spcBef>
            </a:pP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02-822 Warszawa</a:t>
            </a:r>
          </a:p>
          <a:p>
            <a:pPr>
              <a:spcBef>
                <a:spcPct val="20000"/>
              </a:spcBef>
            </a:pP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T: (+48) </a:t>
            </a: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722 220 162</a:t>
            </a:r>
          </a:p>
          <a:p>
            <a:pPr>
              <a:spcBef>
                <a:spcPct val="20000"/>
              </a:spcBef>
            </a:pP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E</a:t>
            </a: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: </a:t>
            </a:r>
            <a:r>
              <a:rPr lang="pl-PL" altLang="pl-PL" sz="1000" dirty="0" smtClean="0">
                <a:solidFill>
                  <a:srgbClr val="7F7F7F"/>
                </a:solidFill>
                <a:latin typeface="Verdana" panose="020B0604030504040204" pitchFamily="34" charset="0"/>
              </a:rPr>
              <a:t>beata.wittmann@tge.pl </a:t>
            </a:r>
            <a:r>
              <a:rPr lang="pl-PL" altLang="pl-PL" sz="1000" dirty="0">
                <a:solidFill>
                  <a:srgbClr val="7F7F7F"/>
                </a:solidFill>
                <a:latin typeface="Verdana" panose="020B0604030504040204" pitchFamily="34" charset="0"/>
              </a:rPr>
              <a:t>| www.tge.pl</a:t>
            </a:r>
          </a:p>
          <a:p>
            <a:pPr>
              <a:spcBef>
                <a:spcPct val="20000"/>
              </a:spcBef>
            </a:pPr>
            <a:endParaRPr lang="pl-PL" altLang="pl-PL" sz="1000" b="1" dirty="0">
              <a:solidFill>
                <a:srgbClr val="68B133"/>
              </a:solidFill>
              <a:latin typeface="Verdan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5324829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8896" name="OTLSHAPE_M_93afb554552a4221a5380f7919409aa7_Connector1"/>
          <p:cNvCxnSpPr/>
          <p:nvPr>
            <p:custDataLst>
              <p:tags r:id="rId2"/>
            </p:custDataLst>
          </p:nvPr>
        </p:nvCxnSpPr>
        <p:spPr>
          <a:xfrm flipH="1">
            <a:off x="2946564" y="2395537"/>
            <a:ext cx="1587" cy="442913"/>
          </a:xfrm>
          <a:prstGeom prst="line">
            <a:avLst/>
          </a:prstGeom>
          <a:ln w="9525" cap="flat" cmpd="sng" algn="ctr">
            <a:solidFill>
              <a:srgbClr val="86BC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5" name="OTLSHAPE_M_52743de8bb6d4044896f473898fe9da7_Connector1"/>
          <p:cNvCxnSpPr/>
          <p:nvPr>
            <p:custDataLst>
              <p:tags r:id="rId3"/>
            </p:custDataLst>
          </p:nvPr>
        </p:nvCxnSpPr>
        <p:spPr>
          <a:xfrm>
            <a:off x="1281263" y="3383129"/>
            <a:ext cx="0" cy="469900"/>
          </a:xfrm>
          <a:prstGeom prst="line">
            <a:avLst/>
          </a:prstGeom>
          <a:ln w="9525" cap="flat" cmpd="sng" algn="ctr">
            <a:solidFill>
              <a:srgbClr val="087FC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94" name="OTLSHAPE_M_a58f29487c0343c08abcf41913e40cae_Connector1"/>
          <p:cNvCxnSpPr/>
          <p:nvPr>
            <p:custDataLst>
              <p:tags r:id="rId4"/>
            </p:custDataLst>
          </p:nvPr>
        </p:nvCxnSpPr>
        <p:spPr>
          <a:xfrm>
            <a:off x="831850" y="2182813"/>
            <a:ext cx="0" cy="828675"/>
          </a:xfrm>
          <a:prstGeom prst="line">
            <a:avLst/>
          </a:prstGeom>
          <a:ln w="9525" cap="flat" cmpd="sng" algn="ctr">
            <a:solidFill>
              <a:srgbClr val="0072BC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71" name="OTLSHAPE_TB_00000000000000000000000000000000_LeftEndCaps"/>
          <p:cNvSpPr txBox="1"/>
          <p:nvPr>
            <p:custDataLst>
              <p:tags r:id="rId5"/>
            </p:custDataLst>
          </p:nvPr>
        </p:nvSpPr>
        <p:spPr>
          <a:xfrm>
            <a:off x="-25440" y="3049945"/>
            <a:ext cx="630238" cy="123111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>
            <a:defPPr>
              <a:defRPr lang="en-US"/>
            </a:defPPr>
            <a:lvl1pPr algn="ctr">
              <a:defRPr sz="1200" b="1" spc="-36">
                <a:solidFill>
                  <a:srgbClr val="C0504D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defTabSz="367502" eaLnBrk="1" hangingPunct="1">
              <a:defRPr/>
            </a:pPr>
            <a:r>
              <a:rPr lang="en-US" sz="800" dirty="0" smtClean="0">
                <a:solidFill>
                  <a:srgbClr val="000000"/>
                </a:solidFill>
              </a:rPr>
              <a:t>201</a:t>
            </a:r>
            <a:r>
              <a:rPr lang="pl-PL" sz="800" dirty="0" smtClean="0">
                <a:solidFill>
                  <a:srgbClr val="000000"/>
                </a:solidFill>
              </a:rPr>
              <a:t>2</a:t>
            </a:r>
            <a:endParaRPr lang="en-US" sz="800" dirty="0">
              <a:solidFill>
                <a:srgbClr val="000000"/>
              </a:solidFill>
            </a:endParaRPr>
          </a:p>
        </p:txBody>
      </p:sp>
      <p:sp>
        <p:nvSpPr>
          <p:cNvPr id="8873" name="OTLSHAPE_TB_00000000000000000000000000000000_ScaleContainer"/>
          <p:cNvSpPr/>
          <p:nvPr>
            <p:custDataLst>
              <p:tags r:id="rId6"/>
            </p:custDataLst>
          </p:nvPr>
        </p:nvSpPr>
        <p:spPr>
          <a:xfrm>
            <a:off x="533400" y="2911475"/>
            <a:ext cx="6854628" cy="479929"/>
          </a:xfrm>
          <a:prstGeom prst="roundRect">
            <a:avLst>
              <a:gd name="adj" fmla="val 100000"/>
            </a:avLst>
          </a:prstGeom>
          <a:ln w="12700" cap="flat" cmpd="sng" algn="ctr">
            <a:noFill/>
            <a:prstDash val="solid"/>
            <a:miter lim="800000"/>
          </a:ln>
          <a:effectLst>
            <a:reflection blurRad="6350" stA="50000" endA="300" endPos="55500" dist="50800" dir="5400000" sy="-100000" algn="bl" rotWithShape="0"/>
          </a:effectLst>
          <a:scene3d>
            <a:camera prst="orthographicFront"/>
            <a:lightRig rig="threePt" dir="t">
              <a:rot lat="0" lon="0" rev="8700000"/>
            </a:lightRig>
          </a:scene3d>
          <a:sp3d>
            <a:bevelT w="165100" h="19050"/>
          </a:sp3d>
          <a:extLst/>
        </p:spPr>
        <p:style>
          <a:lnRef idx="2">
            <a:schemeClr val="accent1">
              <a:shade val="50000"/>
            </a:schemeClr>
          </a:lnRef>
          <a:fillRef idx="1003">
            <a:schemeClr val="dk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 dirty="0">
              <a:solidFill>
                <a:srgbClr val="FFFFFF"/>
              </a:solidFill>
            </a:endParaRPr>
          </a:p>
        </p:txBody>
      </p:sp>
      <p:sp>
        <p:nvSpPr>
          <p:cNvPr id="8874" name="OTLSHAPE_TB_00000000000000000000000000000000_ElapsedTime" hidden="1"/>
          <p:cNvSpPr/>
          <p:nvPr>
            <p:custDataLst>
              <p:tags r:id="rId7"/>
            </p:custDataLst>
          </p:nvPr>
        </p:nvSpPr>
        <p:spPr>
          <a:xfrm>
            <a:off x="228600" y="0"/>
            <a:ext cx="0" cy="0"/>
          </a:xfrm>
          <a:prstGeom prst="roundRect">
            <a:avLst>
              <a:gd name="adj" fmla="val 100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875" name="OTLSHAPE_TB_00000000000000000000000000000000_TodayMarkerShape" hidden="1"/>
          <p:cNvSpPr/>
          <p:nvPr>
            <p:custDataLst>
              <p:tags r:id="rId8"/>
            </p:custDataLst>
          </p:nvPr>
        </p:nvSpPr>
        <p:spPr>
          <a:xfrm>
            <a:off x="954088" y="2560638"/>
            <a:ext cx="84137" cy="98425"/>
          </a:xfrm>
          <a:prstGeom prst="triangl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876" name="OTLSHAPE_TB_00000000000000000000000000000000_TodayMarkerText" hidden="1"/>
          <p:cNvSpPr txBox="1"/>
          <p:nvPr>
            <p:custDataLst>
              <p:tags r:id="rId9"/>
            </p:custDataLst>
          </p:nvPr>
        </p:nvSpPr>
        <p:spPr>
          <a:xfrm>
            <a:off x="995363" y="2659063"/>
            <a:ext cx="0" cy="477837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622">
                <a:solidFill>
                  <a:srgbClr val="000000"/>
                </a:solidFill>
                <a:latin typeface="Calibri" panose="020F0502020204030204" pitchFamily="34" charset="0"/>
                <a:ea typeface="ＭＳ Ｐゴシック" charset="0"/>
              </a:rPr>
              <a:t>Today</a:t>
            </a:r>
          </a:p>
        </p:txBody>
      </p:sp>
      <p:sp>
        <p:nvSpPr>
          <p:cNvPr id="54283" name="OTLSHAPE_TB_00000000000000000000000000000000_TimescaleInterval1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569913" y="3074988"/>
            <a:ext cx="679450" cy="157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Czerwiec 2012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cxnSp>
        <p:nvCxnSpPr>
          <p:cNvPr id="8878" name="OTLSHAPE_TB_00000000000000000000000000000000_Separator1"/>
          <p:cNvCxnSpPr/>
          <p:nvPr>
            <p:custDataLst>
              <p:tags r:id="rId11"/>
            </p:custDataLst>
          </p:nvPr>
        </p:nvCxnSpPr>
        <p:spPr>
          <a:xfrm>
            <a:off x="1241785" y="3055144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79" name="OTLSHAPE_TB_00000000000000000000000000000000_TimescaleInterval2"/>
          <p:cNvSpPr txBox="1"/>
          <p:nvPr>
            <p:custDataLst>
              <p:tags r:id="rId12"/>
            </p:custDataLst>
          </p:nvPr>
        </p:nvSpPr>
        <p:spPr>
          <a:xfrm>
            <a:off x="1282357" y="3058159"/>
            <a:ext cx="654792" cy="195936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367502" eaLnBrk="1" hangingPunct="1">
              <a:defRPr/>
            </a:pPr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Grudzień</a:t>
            </a:r>
            <a:r>
              <a:rPr lang="pl-PL" altLang="pl-PL" sz="600" b="1" spc="-14" dirty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pl-PL" sz="600" b="1" spc="-14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012</a:t>
            </a:r>
            <a:endParaRPr lang="en-US" sz="600" b="1" spc="-14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880" name="OTLSHAPE_TB_00000000000000000000000000000000_Separator2"/>
          <p:cNvCxnSpPr/>
          <p:nvPr>
            <p:custDataLst>
              <p:tags r:id="rId13"/>
            </p:custDataLst>
          </p:nvPr>
        </p:nvCxnSpPr>
        <p:spPr>
          <a:xfrm>
            <a:off x="1955905" y="3060700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89" name="OTLSHAPE_TB_00000000000000000000000000000000_TimescaleInterval4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990722" y="3040064"/>
            <a:ext cx="655724" cy="2216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Wrzesień 2013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cxnSp>
        <p:nvCxnSpPr>
          <p:cNvPr id="8884" name="OTLSHAPE_TB_00000000000000000000000000000000_Separator4"/>
          <p:cNvCxnSpPr/>
          <p:nvPr>
            <p:custDataLst>
              <p:tags r:id="rId15"/>
            </p:custDataLst>
          </p:nvPr>
        </p:nvCxnSpPr>
        <p:spPr>
          <a:xfrm>
            <a:off x="2653088" y="3060700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91" name="OTLSHAPE_TB_00000000000000000000000000000000_TimescaleInterval5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2689787" y="3029622"/>
            <a:ext cx="590636" cy="239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Lipiec 2014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cxnSp>
        <p:nvCxnSpPr>
          <p:cNvPr id="8886" name="OTLSHAPE_TB_00000000000000000000000000000000_Separator5"/>
          <p:cNvCxnSpPr/>
          <p:nvPr>
            <p:custDataLst>
              <p:tags r:id="rId17"/>
            </p:custDataLst>
          </p:nvPr>
        </p:nvCxnSpPr>
        <p:spPr>
          <a:xfrm>
            <a:off x="3225541" y="3063238"/>
            <a:ext cx="0" cy="198437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87" name="OTLSHAPE_TB_00000000000000000000000000000000_TimescaleInterval6"/>
          <p:cNvSpPr txBox="1"/>
          <p:nvPr>
            <p:custDataLst>
              <p:tags r:id="rId18"/>
            </p:custDataLst>
          </p:nvPr>
        </p:nvSpPr>
        <p:spPr>
          <a:xfrm>
            <a:off x="3284913" y="3086418"/>
            <a:ext cx="467977" cy="122237"/>
          </a:xfrm>
          <a:prstGeom prst="rect">
            <a:avLst/>
          </a:prstGeom>
          <a:noFill/>
        </p:spPr>
        <p:txBody>
          <a:bodyPr lIns="0" tIns="0" rIns="0" bIns="0" anchor="ctr"/>
          <a:lstStyle/>
          <a:p>
            <a:pPr defTabSz="367502" eaLnBrk="1" hangingPunct="1">
              <a:defRPr/>
            </a:pPr>
            <a:r>
              <a:rPr lang="pl-PL" sz="600" b="1" spc="-17" dirty="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j 2015</a:t>
            </a:r>
            <a:endParaRPr lang="en-US" sz="600" b="1" spc="-17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8892" name="OTLSHAPE_TB_00000000000000000000000000000000_Separator8"/>
          <p:cNvCxnSpPr/>
          <p:nvPr>
            <p:custDataLst>
              <p:tags r:id="rId19"/>
            </p:custDataLst>
          </p:nvPr>
        </p:nvCxnSpPr>
        <p:spPr>
          <a:xfrm>
            <a:off x="3708458" y="3060700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299" name="OTLSHAPE_TB_00000000000000000000000000000000_TimescaleInterval9"/>
          <p:cNvSpPr txBox="1">
            <a:spLocks noChangeArrowheads="1"/>
          </p:cNvSpPr>
          <p:nvPr>
            <p:custDataLst>
              <p:tags r:id="rId20"/>
            </p:custDataLst>
          </p:nvPr>
        </p:nvSpPr>
        <p:spPr bwMode="auto">
          <a:xfrm>
            <a:off x="3788151" y="3057206"/>
            <a:ext cx="661391" cy="1619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Wrzesień 2015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8900" name="OTLSHAPE_M_a58f29487c0343c08abcf41913e40cae_Shape"/>
          <p:cNvSpPr/>
          <p:nvPr>
            <p:custDataLst>
              <p:tags r:id="rId21"/>
            </p:custDataLst>
          </p:nvPr>
        </p:nvSpPr>
        <p:spPr>
          <a:xfrm rot="16200000" flipV="1">
            <a:off x="673013" y="2121341"/>
            <a:ext cx="172558" cy="157572"/>
          </a:xfrm>
          <a:prstGeom prst="flowChartMerg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54304" name="OTLSHAPE_M_52743de8bb6d4044896f473898fe9da7_Title"/>
          <p:cNvSpPr txBox="1"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158828" y="3776187"/>
            <a:ext cx="1274528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Arial" panose="020B0604020202020204" pitchFamily="34" charset="0"/>
              <a:buChar char="•"/>
            </a:pPr>
            <a:r>
              <a:rPr lang="pl-PL" altLang="pl-PL" sz="600" b="1" dirty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Rozpoczęcie notowań </a:t>
            </a:r>
            <a: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gazu </a:t>
            </a:r>
            <a:r>
              <a:rPr lang="pl-PL" altLang="pl-PL" sz="600" b="1" dirty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na Towarowej Giełdy Energii S.A. </a:t>
            </a:r>
          </a:p>
          <a:p>
            <a:pPr marL="171450" indent="-171450" defTabSz="367502" eaLnBrk="1" hangingPunct="1">
              <a:buFont typeface="Arial" panose="020B0604020202020204" pitchFamily="34" charset="0"/>
              <a:buChar char="•"/>
            </a:pPr>
            <a:endParaRPr lang="pl-PL" altLang="pl-PL" sz="600" b="1" dirty="0">
              <a:solidFill>
                <a:srgbClr val="000000"/>
              </a:solidFill>
              <a:latin typeface="Verdana" panose="020B0604030504040204" pitchFamily="34" charset="0"/>
              <a:ea typeface="ＭＳ Ｐゴシック" charset="0"/>
            </a:endParaRPr>
          </a:p>
          <a:p>
            <a:pPr marL="171450" indent="-171450" algn="ctr" defTabSz="367502" eaLnBrk="1" hangingPunct="1">
              <a:buFont typeface="Arial" panose="020B0604020202020204" pitchFamily="34" charset="0"/>
              <a:buChar char="•"/>
            </a:pPr>
            <a:endParaRPr lang="pl-PL" altLang="pl-PL" sz="700" b="1" dirty="0">
              <a:solidFill>
                <a:srgbClr val="000000"/>
              </a:solidFill>
              <a:latin typeface="Verdana" panose="020B0604030504040204" pitchFamily="34" charset="0"/>
              <a:ea typeface="ＭＳ Ｐゴシック" charset="0"/>
            </a:endParaRPr>
          </a:p>
          <a:p>
            <a:pPr marL="171450" indent="-171450" algn="ctr" defTabSz="367502" eaLnBrk="1" hangingPunct="1">
              <a:buFont typeface="Arial" panose="020B0604020202020204" pitchFamily="34" charset="0"/>
              <a:buChar char="•"/>
            </a:pPr>
            <a:endParaRPr lang="en-US" altLang="pl-PL" sz="700" b="1" dirty="0">
              <a:solidFill>
                <a:srgbClr val="000000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54308" name="OTLSHAPE_M_a54bc827b05146d18b559f618723e2b4_Title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945497" y="1039416"/>
            <a:ext cx="982435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</a:pPr>
            <a:r>
              <a:rPr lang="pl-PL" altLang="pl-PL" sz="600" b="1" dirty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Nowelizacja </a:t>
            </a:r>
            <a: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UPE </a:t>
            </a:r>
            <a:r>
              <a:rPr lang="pl-PL" altLang="pl-PL" sz="600" b="1" dirty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– wprowadzenie </a:t>
            </a:r>
            <a: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giełdowego obliga gazowego</a:t>
            </a:r>
            <a:endParaRPr lang="pl-PL" altLang="pl-PL" sz="600" b="1" dirty="0">
              <a:solidFill>
                <a:srgbClr val="000000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8907" name="OTLSHAPE_M_93afb554552a4221a5380f7919409aa7_Title"/>
          <p:cNvSpPr txBox="1"/>
          <p:nvPr>
            <p:custDataLst>
              <p:tags r:id="rId24"/>
            </p:custDataLst>
          </p:nvPr>
        </p:nvSpPr>
        <p:spPr>
          <a:xfrm>
            <a:off x="2166996" y="1311658"/>
            <a:ext cx="936625" cy="961802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  <a:defRPr/>
            </a:pPr>
            <a:endParaRPr lang="pl-PL" sz="600" b="1" spc="-5" dirty="0" smtClean="0">
              <a:solidFill>
                <a:srgbClr val="68B13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367502" eaLnBrk="1" hangingPunct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prowadzenie nowych produktów (kontraktów sezonowych, weekendowych)</a:t>
            </a:r>
          </a:p>
          <a:p>
            <a:pPr marL="171450" indent="-171450" defTabSz="367502" eaLnBrk="1" hangingPunct="1">
              <a:spcAft>
                <a:spcPts val="300"/>
              </a:spcAft>
              <a:buFont typeface="Wingdings" panose="05000000000000000000" pitchFamily="2" charset="2"/>
              <a:buChar char="§"/>
              <a:defRPr/>
            </a:pPr>
            <a: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ruchomienie Rynku Dnia Bieżącego </a:t>
            </a:r>
            <a:r>
              <a:rPr lang="pl-PL" sz="600" b="1" spc="-5" dirty="0" smtClean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azu</a:t>
            </a:r>
            <a:endParaRPr lang="pl-PL" sz="600" b="1" spc="-5" dirty="0">
              <a:solidFill>
                <a:srgbClr val="68B13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11" name="OTLSHAPE_M_6a283b367375415b92b0e5fc4e16a0cc_Date" hidden="1"/>
          <p:cNvSpPr txBox="1"/>
          <p:nvPr>
            <p:custDataLst>
              <p:tags r:id="rId25"/>
            </p:custDataLst>
          </p:nvPr>
        </p:nvSpPr>
        <p:spPr>
          <a:xfrm>
            <a:off x="4822825" y="1943100"/>
            <a:ext cx="0" cy="382588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622">
                <a:solidFill>
                  <a:srgbClr val="D1282E"/>
                </a:solidFill>
                <a:latin typeface="Calibri" panose="020F0502020204030204" pitchFamily="34" charset="0"/>
                <a:ea typeface="ＭＳ Ｐゴシック" charset="0"/>
              </a:rPr>
              <a:t>Nov 7</a:t>
            </a:r>
          </a:p>
        </p:txBody>
      </p:sp>
      <p:sp>
        <p:nvSpPr>
          <p:cNvPr id="8914" name="OTLSHAPE_M_7b0996464ffd4cd3a3b383ab1ba22438_Date" hidden="1"/>
          <p:cNvSpPr txBox="1"/>
          <p:nvPr>
            <p:custDataLst>
              <p:tags r:id="rId26"/>
            </p:custDataLst>
          </p:nvPr>
        </p:nvSpPr>
        <p:spPr>
          <a:xfrm>
            <a:off x="5689600" y="2168525"/>
            <a:ext cx="0" cy="4794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622">
                <a:solidFill>
                  <a:srgbClr val="D1282E"/>
                </a:solidFill>
                <a:latin typeface="Calibri" panose="020F0502020204030204" pitchFamily="34" charset="0"/>
                <a:ea typeface="ＭＳ Ｐゴシック" charset="0"/>
              </a:rPr>
              <a:t>Dec 20</a:t>
            </a:r>
          </a:p>
        </p:txBody>
      </p:sp>
      <p:sp>
        <p:nvSpPr>
          <p:cNvPr id="8916" name="OTLSHAPE_M_7f583de0854a4cacb89837f3a379bb4a_Title"/>
          <p:cNvSpPr txBox="1"/>
          <p:nvPr>
            <p:custDataLst>
              <p:tags r:id="rId27"/>
            </p:custDataLst>
          </p:nvPr>
        </p:nvSpPr>
        <p:spPr>
          <a:xfrm>
            <a:off x="5153350" y="1872351"/>
            <a:ext cx="796144" cy="646331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defTabSz="367502" eaLnBrk="1" hangingPunct="1">
              <a:defRPr/>
            </a:pPr>
            <a:endParaRPr lang="en-US" sz="600" b="1" spc="-5" dirty="0">
              <a:solidFill>
                <a:srgbClr val="86BC2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367502" eaLnBrk="1" hangingPunct="1">
              <a:buFont typeface="Arial" panose="020B0604020202020204" pitchFamily="34" charset="0"/>
              <a:buChar char="•"/>
              <a:defRPr/>
            </a:pPr>
            <a:r>
              <a:rPr lang="pl-PL" sz="600" b="1" spc="-5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30.11.2015</a:t>
            </a:r>
            <a:br>
              <a:rPr lang="pl-PL" sz="600" b="1" spc="-5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regulacja zawodu maklera giełd towarowych</a:t>
            </a:r>
            <a:br>
              <a:rPr lang="pl-PL" sz="600" b="1" spc="-5" dirty="0" smtClean="0">
                <a:solidFill>
                  <a:srgbClr val="86BC25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en-US" sz="600" b="1" spc="-5" dirty="0">
              <a:solidFill>
                <a:srgbClr val="86BC25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8920" name="OTLSHAPE_T_7c518fb37f2142bb8e0445920d0403b5_ShapePercentage" hidden="1"/>
          <p:cNvSpPr/>
          <p:nvPr>
            <p:custDataLst>
              <p:tags r:id="rId28"/>
            </p:custDataLst>
          </p:nvPr>
        </p:nvSpPr>
        <p:spPr>
          <a:xfrm>
            <a:off x="2708275" y="2717800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21" name="OTLSHAPE_T_7c518fb37f2142bb8e0445920d0403b5_Duration" hidden="1"/>
          <p:cNvSpPr txBox="1"/>
          <p:nvPr>
            <p:custDataLst>
              <p:tags r:id="rId29"/>
            </p:custDataLst>
          </p:nvPr>
        </p:nvSpPr>
        <p:spPr>
          <a:xfrm>
            <a:off x="228600" y="2717800"/>
            <a:ext cx="255588" cy="120650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777">
                <a:solidFill>
                  <a:srgbClr val="C0504D"/>
                </a:solidFill>
                <a:latin typeface="Calibri" panose="020F0502020204030204" pitchFamily="34" charset="0"/>
                <a:ea typeface="ＭＳ Ｐゴシック" charset="0"/>
              </a:rPr>
              <a:t>5 days</a:t>
            </a:r>
          </a:p>
        </p:txBody>
      </p:sp>
      <p:sp>
        <p:nvSpPr>
          <p:cNvPr id="8922" name="OTLSHAPE_T_7c518fb37f2142bb8e0445920d0403b5_TextPercentage" hidden="1"/>
          <p:cNvSpPr txBox="1"/>
          <p:nvPr>
            <p:custDataLst>
              <p:tags r:id="rId30"/>
            </p:custDataLst>
          </p:nvPr>
        </p:nvSpPr>
        <p:spPr>
          <a:xfrm>
            <a:off x="228600" y="28384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C0504D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23" name="OTLSHAPE_T_7c518fb37f2142bb8e0445920d0403b5_StartDate" hidden="1"/>
          <p:cNvSpPr txBox="1"/>
          <p:nvPr>
            <p:custDataLst>
              <p:tags r:id="rId31"/>
            </p:custDataLst>
          </p:nvPr>
        </p:nvSpPr>
        <p:spPr>
          <a:xfrm>
            <a:off x="228600" y="28384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24" name="OTLSHAPE_T_7c518fb37f2142bb8e0445920d0403b5_EndDate" hidden="1"/>
          <p:cNvSpPr txBox="1"/>
          <p:nvPr>
            <p:custDataLst>
              <p:tags r:id="rId32"/>
            </p:custDataLst>
          </p:nvPr>
        </p:nvSpPr>
        <p:spPr>
          <a:xfrm>
            <a:off x="228600" y="28384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28" name="OTLSHAPE_T_be3ae38f60b3402d8a13f1e91eec41f5_ShapePercentage" hidden="1"/>
          <p:cNvSpPr/>
          <p:nvPr>
            <p:custDataLst>
              <p:tags r:id="rId33"/>
            </p:custDataLst>
          </p:nvPr>
        </p:nvSpPr>
        <p:spPr>
          <a:xfrm>
            <a:off x="3130550" y="2925763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29" name="OTLSHAPE_T_be3ae38f60b3402d8a13f1e91eec41f5_Duration" hidden="1"/>
          <p:cNvSpPr txBox="1"/>
          <p:nvPr>
            <p:custDataLst>
              <p:tags r:id="rId34"/>
            </p:custDataLst>
          </p:nvPr>
        </p:nvSpPr>
        <p:spPr>
          <a:xfrm>
            <a:off x="228600" y="2865438"/>
            <a:ext cx="304800" cy="23971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777">
                <a:solidFill>
                  <a:srgbClr val="C0504D"/>
                </a:solidFill>
                <a:latin typeface="Calibri" panose="020F0502020204030204" pitchFamily="34" charset="0"/>
                <a:ea typeface="ＭＳ Ｐゴシック" charset="0"/>
              </a:rPr>
              <a:t>16 days</a:t>
            </a:r>
          </a:p>
        </p:txBody>
      </p:sp>
      <p:sp>
        <p:nvSpPr>
          <p:cNvPr id="8930" name="OTLSHAPE_T_be3ae38f60b3402d8a13f1e91eec41f5_TextPercentage" hidden="1"/>
          <p:cNvSpPr txBox="1"/>
          <p:nvPr>
            <p:custDataLst>
              <p:tags r:id="rId35"/>
            </p:custDataLst>
          </p:nvPr>
        </p:nvSpPr>
        <p:spPr>
          <a:xfrm>
            <a:off x="228600" y="3046413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C0504D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31" name="OTLSHAPE_T_be3ae38f60b3402d8a13f1e91eec41f5_StartDate" hidden="1"/>
          <p:cNvSpPr txBox="1"/>
          <p:nvPr>
            <p:custDataLst>
              <p:tags r:id="rId36"/>
            </p:custDataLst>
          </p:nvPr>
        </p:nvSpPr>
        <p:spPr>
          <a:xfrm>
            <a:off x="228600" y="3046413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32" name="OTLSHAPE_T_be3ae38f60b3402d8a13f1e91eec41f5_EndDate" hidden="1"/>
          <p:cNvSpPr txBox="1"/>
          <p:nvPr>
            <p:custDataLst>
              <p:tags r:id="rId37"/>
            </p:custDataLst>
          </p:nvPr>
        </p:nvSpPr>
        <p:spPr>
          <a:xfrm>
            <a:off x="228600" y="3046413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36" name="OTLSHAPE_T_9aa183d65df24b0c8fecd0a002471583_ShapePercentage" hidden="1"/>
          <p:cNvSpPr/>
          <p:nvPr>
            <p:custDataLst>
              <p:tags r:id="rId38"/>
            </p:custDataLst>
          </p:nvPr>
        </p:nvSpPr>
        <p:spPr>
          <a:xfrm>
            <a:off x="3130550" y="3132138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37" name="OTLSHAPE_T_9aa183d65df24b0c8fecd0a002471583_Duration" hidden="1"/>
          <p:cNvSpPr txBox="1"/>
          <p:nvPr>
            <p:custDataLst>
              <p:tags r:id="rId39"/>
            </p:custDataLst>
          </p:nvPr>
        </p:nvSpPr>
        <p:spPr>
          <a:xfrm>
            <a:off x="228600" y="3073400"/>
            <a:ext cx="304800" cy="2381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777">
                <a:solidFill>
                  <a:srgbClr val="C0504D"/>
                </a:solidFill>
                <a:latin typeface="Calibri" panose="020F0502020204030204" pitchFamily="34" charset="0"/>
                <a:ea typeface="ＭＳ Ｐゴシック" charset="0"/>
              </a:rPr>
              <a:t>24 days</a:t>
            </a:r>
          </a:p>
        </p:txBody>
      </p:sp>
      <p:sp>
        <p:nvSpPr>
          <p:cNvPr id="8938" name="OTLSHAPE_T_9aa183d65df24b0c8fecd0a002471583_TextPercentage" hidden="1"/>
          <p:cNvSpPr txBox="1"/>
          <p:nvPr>
            <p:custDataLst>
              <p:tags r:id="rId40"/>
            </p:custDataLst>
          </p:nvPr>
        </p:nvSpPr>
        <p:spPr>
          <a:xfrm>
            <a:off x="228600" y="3252788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C0504D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39" name="OTLSHAPE_T_9aa183d65df24b0c8fecd0a002471583_StartDate" hidden="1"/>
          <p:cNvSpPr txBox="1"/>
          <p:nvPr>
            <p:custDataLst>
              <p:tags r:id="rId41"/>
            </p:custDataLst>
          </p:nvPr>
        </p:nvSpPr>
        <p:spPr>
          <a:xfrm>
            <a:off x="228600" y="3252788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40" name="OTLSHAPE_T_9aa183d65df24b0c8fecd0a002471583_EndDate" hidden="1"/>
          <p:cNvSpPr txBox="1"/>
          <p:nvPr>
            <p:custDataLst>
              <p:tags r:id="rId42"/>
            </p:custDataLst>
          </p:nvPr>
        </p:nvSpPr>
        <p:spPr>
          <a:xfrm>
            <a:off x="228600" y="3252788"/>
            <a:ext cx="0" cy="119062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44" name="OTLSHAPE_T_06a6a20021ea4acdac20b41f7b37b0dd_ShapePercentage" hidden="1"/>
          <p:cNvSpPr/>
          <p:nvPr>
            <p:custDataLst>
              <p:tags r:id="rId43"/>
            </p:custDataLst>
          </p:nvPr>
        </p:nvSpPr>
        <p:spPr>
          <a:xfrm>
            <a:off x="3614738" y="3340100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45" name="OTLSHAPE_T_06a6a20021ea4acdac20b41f7b37b0dd_Duration" hidden="1"/>
          <p:cNvSpPr txBox="1"/>
          <p:nvPr>
            <p:custDataLst>
              <p:tags r:id="rId44"/>
            </p:custDataLst>
          </p:nvPr>
        </p:nvSpPr>
        <p:spPr>
          <a:xfrm>
            <a:off x="228600" y="3279775"/>
            <a:ext cx="304800" cy="23971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777">
                <a:solidFill>
                  <a:srgbClr val="C0504D"/>
                </a:solidFill>
                <a:latin typeface="Calibri" panose="020F0502020204030204" pitchFamily="34" charset="0"/>
                <a:ea typeface="ＭＳ Ｐゴシック" charset="0"/>
              </a:rPr>
              <a:t>17 days</a:t>
            </a:r>
          </a:p>
        </p:txBody>
      </p:sp>
      <p:sp>
        <p:nvSpPr>
          <p:cNvPr id="8946" name="OTLSHAPE_T_06a6a20021ea4acdac20b41f7b37b0dd_TextPercentage" hidden="1"/>
          <p:cNvSpPr txBox="1"/>
          <p:nvPr>
            <p:custDataLst>
              <p:tags r:id="rId45"/>
            </p:custDataLst>
          </p:nvPr>
        </p:nvSpPr>
        <p:spPr>
          <a:xfrm>
            <a:off x="228600" y="34607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C0504D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47" name="OTLSHAPE_T_06a6a20021ea4acdac20b41f7b37b0dd_StartDate" hidden="1"/>
          <p:cNvSpPr txBox="1"/>
          <p:nvPr>
            <p:custDataLst>
              <p:tags r:id="rId46"/>
            </p:custDataLst>
          </p:nvPr>
        </p:nvSpPr>
        <p:spPr>
          <a:xfrm>
            <a:off x="228600" y="34607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48" name="OTLSHAPE_T_06a6a20021ea4acdac20b41f7b37b0dd_EndDate" hidden="1"/>
          <p:cNvSpPr txBox="1"/>
          <p:nvPr>
            <p:custDataLst>
              <p:tags r:id="rId47"/>
            </p:custDataLst>
          </p:nvPr>
        </p:nvSpPr>
        <p:spPr>
          <a:xfrm>
            <a:off x="228600" y="3460750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52" name="OTLSHAPE_T_e6f5c918bdd649a1ac919cf22468a23b_ShapePercentage" hidden="1"/>
          <p:cNvSpPr/>
          <p:nvPr>
            <p:custDataLst>
              <p:tags r:id="rId48"/>
            </p:custDataLst>
          </p:nvPr>
        </p:nvSpPr>
        <p:spPr>
          <a:xfrm>
            <a:off x="4138613" y="3546475"/>
            <a:ext cx="0" cy="0"/>
          </a:xfrm>
          <a:prstGeom prst="roundRect">
            <a:avLst>
              <a:gd name="adj" fmla="val 10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8953" name="OTLSHAPE_T_e6f5c918bdd649a1ac919cf22468a23b_Duration" hidden="1"/>
          <p:cNvSpPr txBox="1"/>
          <p:nvPr>
            <p:custDataLst>
              <p:tags r:id="rId49"/>
            </p:custDataLst>
          </p:nvPr>
        </p:nvSpPr>
        <p:spPr>
          <a:xfrm>
            <a:off x="228600" y="3487738"/>
            <a:ext cx="304800" cy="238125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r>
              <a:rPr lang="en-US" sz="777">
                <a:solidFill>
                  <a:srgbClr val="C0504D"/>
                </a:solidFill>
                <a:latin typeface="Calibri" panose="020F0502020204030204" pitchFamily="34" charset="0"/>
                <a:ea typeface="ＭＳ Ｐゴシック" charset="0"/>
              </a:rPr>
              <a:t>25 days</a:t>
            </a:r>
          </a:p>
        </p:txBody>
      </p:sp>
      <p:sp>
        <p:nvSpPr>
          <p:cNvPr id="8954" name="OTLSHAPE_T_e6f5c918bdd649a1ac919cf22468a23b_TextPercentage" hidden="1"/>
          <p:cNvSpPr txBox="1"/>
          <p:nvPr>
            <p:custDataLst>
              <p:tags r:id="rId50"/>
            </p:custDataLst>
          </p:nvPr>
        </p:nvSpPr>
        <p:spPr>
          <a:xfrm>
            <a:off x="228600" y="3667125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C0504D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55" name="OTLSHAPE_T_e6f5c918bdd649a1ac919cf22468a23b_StartDate" hidden="1"/>
          <p:cNvSpPr txBox="1"/>
          <p:nvPr>
            <p:custDataLst>
              <p:tags r:id="rId51"/>
            </p:custDataLst>
          </p:nvPr>
        </p:nvSpPr>
        <p:spPr>
          <a:xfrm>
            <a:off x="228600" y="3667125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sp>
        <p:nvSpPr>
          <p:cNvPr id="8956" name="OTLSHAPE_T_e6f5c918bdd649a1ac919cf22468a23b_EndDate" hidden="1"/>
          <p:cNvSpPr txBox="1"/>
          <p:nvPr>
            <p:custDataLst>
              <p:tags r:id="rId52"/>
            </p:custDataLst>
          </p:nvPr>
        </p:nvSpPr>
        <p:spPr>
          <a:xfrm>
            <a:off x="228600" y="3667125"/>
            <a:ext cx="0" cy="119063"/>
          </a:xfrm>
          <a:prstGeom prst="rect">
            <a:avLst/>
          </a:prstGeom>
          <a:noFill/>
        </p:spPr>
        <p:txBody>
          <a:bodyPr lIns="0" tIns="0" rIns="0" bIns="0" anchor="ctr">
            <a:spAutoFit/>
          </a:bodyPr>
          <a:lstStyle/>
          <a:p>
            <a:pPr algn="ctr" defTabSz="367502" eaLnBrk="1" hangingPunct="1">
              <a:defRPr/>
            </a:pPr>
            <a:endParaRPr lang="en-US" sz="777">
              <a:solidFill>
                <a:srgbClr val="7F7F7F"/>
              </a:solidFill>
              <a:latin typeface="Calibri" panose="020F0502020204030204" pitchFamily="34" charset="0"/>
              <a:ea typeface="ＭＳ Ｐゴシック" charset="0"/>
            </a:endParaRPr>
          </a:p>
        </p:txBody>
      </p:sp>
      <p:cxnSp>
        <p:nvCxnSpPr>
          <p:cNvPr id="90" name="OTLSHAPE_M_52743de8bb6d4044896f473898fe9da7_Connector1"/>
          <p:cNvCxnSpPr/>
          <p:nvPr>
            <p:custDataLst>
              <p:tags r:id="rId53"/>
            </p:custDataLst>
          </p:nvPr>
        </p:nvCxnSpPr>
        <p:spPr>
          <a:xfrm>
            <a:off x="2158719" y="1124791"/>
            <a:ext cx="5102" cy="1779323"/>
          </a:xfrm>
          <a:prstGeom prst="line">
            <a:avLst/>
          </a:prstGeom>
          <a:ln w="9525" cap="flat" cmpd="sng" algn="ctr">
            <a:solidFill>
              <a:srgbClr val="087FC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OTLSHAPE_M_52743de8bb6d4044896f473898fe9da7_Shape"/>
          <p:cNvSpPr/>
          <p:nvPr>
            <p:custDataLst>
              <p:tags r:id="rId54"/>
            </p:custDataLst>
          </p:nvPr>
        </p:nvSpPr>
        <p:spPr>
          <a:xfrm rot="16200000">
            <a:off x="4883277" y="4102285"/>
            <a:ext cx="128258" cy="128258"/>
          </a:xfrm>
          <a:prstGeom prst="flowChartMerg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94" name="OTLSHAPE_M_93afb554552a4221a5380f7919409aa7_Title"/>
          <p:cNvSpPr txBox="1"/>
          <p:nvPr>
            <p:custDataLst>
              <p:tags r:id="rId55"/>
            </p:custDataLst>
          </p:nvPr>
        </p:nvSpPr>
        <p:spPr>
          <a:xfrm>
            <a:off x="4977568" y="4153112"/>
            <a:ext cx="1317556" cy="46166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Arial" panose="020B0604020202020204" pitchFamily="34" charset="0"/>
              <a:buChar char="•"/>
              <a:defRPr/>
            </a:pP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.10.2015 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ydłużenie notowań 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</a:t>
            </a:r>
            <a:r>
              <a:rPr lang="pl-PL" sz="600" b="1" spc="-5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DNiBg</a:t>
            </a: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, publikacja nowego indeksu </a:t>
            </a:r>
            <a:r>
              <a:rPr lang="pl-PL" sz="600" b="1" spc="-5" dirty="0" err="1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GEgasID</a:t>
            </a:r>
            <a:endParaRPr lang="pl-PL" sz="600" b="1" spc="-5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367502" eaLnBrk="1" hangingPunct="1">
              <a:buFont typeface="Arial" panose="020B0604020202020204" pitchFamily="34" charset="0"/>
              <a:buChar char="•"/>
              <a:defRPr/>
            </a:pPr>
            <a:endParaRPr lang="pl-PL" sz="600" b="1" spc="-5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9" name="OTLSHAPE_M_93afb554552a4221a5380f7919409aa7_Title"/>
          <p:cNvSpPr txBox="1"/>
          <p:nvPr>
            <p:custDataLst>
              <p:tags r:id="rId56"/>
            </p:custDataLst>
          </p:nvPr>
        </p:nvSpPr>
        <p:spPr>
          <a:xfrm>
            <a:off x="2378478" y="4262483"/>
            <a:ext cx="1136171" cy="461665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  <a:defRPr/>
            </a:pPr>
            <a: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dpisanie </a:t>
            </a:r>
            <a:b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 Gaz – System Listu intencyjnego „Hub gazowy </a:t>
            </a:r>
            <a:b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w Polsce”</a:t>
            </a:r>
            <a:endParaRPr lang="en-US" sz="600" b="1" spc="-5" dirty="0">
              <a:solidFill>
                <a:srgbClr val="68B133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0" name="OTLSHAPE_M_93afb554552a4221a5380f7919409aa7_Connector1"/>
          <p:cNvCxnSpPr/>
          <p:nvPr>
            <p:custDataLst>
              <p:tags r:id="rId57"/>
            </p:custDataLst>
          </p:nvPr>
        </p:nvCxnSpPr>
        <p:spPr>
          <a:xfrm>
            <a:off x="3470612" y="3385906"/>
            <a:ext cx="7937" cy="998537"/>
          </a:xfrm>
          <a:prstGeom prst="line">
            <a:avLst/>
          </a:prstGeom>
          <a:ln w="9525" cap="flat" cmpd="sng" algn="ctr">
            <a:solidFill>
              <a:srgbClr val="86BC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1" name="OTLSHAPE_M_52743de8bb6d4044896f473898fe9da7_Shape"/>
          <p:cNvSpPr/>
          <p:nvPr>
            <p:custDataLst>
              <p:tags r:id="rId58"/>
            </p:custDataLst>
          </p:nvPr>
        </p:nvSpPr>
        <p:spPr>
          <a:xfrm rot="16200000" flipV="1">
            <a:off x="3476718" y="4315810"/>
            <a:ext cx="171226" cy="137266"/>
          </a:xfrm>
          <a:prstGeom prst="flowChartMerg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54364" name="Tytuł 1"/>
          <p:cNvSpPr txBox="1">
            <a:spLocks/>
          </p:cNvSpPr>
          <p:nvPr/>
        </p:nvSpPr>
        <p:spPr bwMode="auto">
          <a:xfrm>
            <a:off x="80963" y="180975"/>
            <a:ext cx="5899150" cy="665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1925638" indent="360363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382838" indent="360363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2840038" indent="360363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297238" indent="360363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lnSpc>
                <a:spcPct val="90000"/>
              </a:lnSpc>
            </a:pPr>
            <a:endParaRPr lang="pl-PL" altLang="pl-PL" sz="600" b="1" dirty="0">
              <a:solidFill>
                <a:srgbClr val="646567"/>
              </a:solidFill>
              <a:latin typeface="Verdana" panose="020B0604030504040204" pitchFamily="34" charset="0"/>
            </a:endParaRPr>
          </a:p>
        </p:txBody>
      </p:sp>
      <p:cxnSp>
        <p:nvCxnSpPr>
          <p:cNvPr id="79" name="OTLSHAPE_TB_00000000000000000000000000000000_Separator8"/>
          <p:cNvCxnSpPr/>
          <p:nvPr>
            <p:custDataLst>
              <p:tags r:id="rId59"/>
            </p:custDataLst>
          </p:nvPr>
        </p:nvCxnSpPr>
        <p:spPr>
          <a:xfrm>
            <a:off x="5250490" y="3022283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OTLSHAPE_TB_00000000000000000000000000000000_TimescaleInterval9"/>
          <p:cNvSpPr txBox="1">
            <a:spLocks noChangeArrowheads="1"/>
          </p:cNvSpPr>
          <p:nvPr>
            <p:custDataLst>
              <p:tags r:id="rId60"/>
            </p:custDataLst>
          </p:nvPr>
        </p:nvSpPr>
        <p:spPr bwMode="auto">
          <a:xfrm>
            <a:off x="4480224" y="3040064"/>
            <a:ext cx="780310" cy="20110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Październik 2015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cxnSp>
        <p:nvCxnSpPr>
          <p:cNvPr id="81" name="OTLSHAPE_TB_00000000000000000000000000000000_Separator8"/>
          <p:cNvCxnSpPr/>
          <p:nvPr>
            <p:custDataLst>
              <p:tags r:id="rId61"/>
            </p:custDataLst>
          </p:nvPr>
        </p:nvCxnSpPr>
        <p:spPr>
          <a:xfrm>
            <a:off x="5949494" y="3033713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OTLSHAPE_TB_00000000000000000000000000000000_TimescaleInterval9"/>
          <p:cNvSpPr txBox="1">
            <a:spLocks noChangeArrowheads="1"/>
          </p:cNvSpPr>
          <p:nvPr>
            <p:custDataLst>
              <p:tags r:id="rId62"/>
            </p:custDataLst>
          </p:nvPr>
        </p:nvSpPr>
        <p:spPr bwMode="auto">
          <a:xfrm>
            <a:off x="5288590" y="3032660"/>
            <a:ext cx="623891" cy="202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Listopad 2015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84" name="OTLSHAPE_TB_00000000000000000000000000000000_TimescaleInterval9"/>
          <p:cNvSpPr txBox="1">
            <a:spLocks noChangeArrowheads="1"/>
          </p:cNvSpPr>
          <p:nvPr>
            <p:custDataLst>
              <p:tags r:id="rId63"/>
            </p:custDataLst>
          </p:nvPr>
        </p:nvSpPr>
        <p:spPr bwMode="auto">
          <a:xfrm>
            <a:off x="6010142" y="3024997"/>
            <a:ext cx="642932" cy="202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Styczeń-marzec 2016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cxnSp>
        <p:nvCxnSpPr>
          <p:cNvPr id="85" name="OTLSHAPE_TB_00000000000000000000000000000000_Separator8"/>
          <p:cNvCxnSpPr/>
          <p:nvPr>
            <p:custDataLst>
              <p:tags r:id="rId64"/>
            </p:custDataLst>
          </p:nvPr>
        </p:nvCxnSpPr>
        <p:spPr>
          <a:xfrm>
            <a:off x="6645123" y="3030220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OTLSHAPE_TB_00000000000000000000000000000000_TimescaleInterval9"/>
          <p:cNvSpPr txBox="1">
            <a:spLocks noChangeArrowheads="1"/>
          </p:cNvSpPr>
          <p:nvPr>
            <p:custDataLst>
              <p:tags r:id="rId65"/>
            </p:custDataLst>
          </p:nvPr>
        </p:nvSpPr>
        <p:spPr bwMode="auto">
          <a:xfrm>
            <a:off x="6697689" y="3025040"/>
            <a:ext cx="545750" cy="202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/>
          <a:p>
            <a:pPr defTabSz="367502" eaLnBrk="1" hangingPunct="1"/>
            <a:r>
              <a:rPr lang="pl-PL" altLang="pl-PL" sz="600" b="1" dirty="0" smtClean="0">
                <a:solidFill>
                  <a:srgbClr val="FFFFFF"/>
                </a:solidFill>
                <a:latin typeface="Verdana" panose="020B0604030504040204" pitchFamily="34" charset="0"/>
                <a:ea typeface="ＭＳ Ｐゴシック" charset="0"/>
              </a:rPr>
              <a:t>Marzec 2016</a:t>
            </a:r>
            <a:endParaRPr lang="en-US" altLang="pl-PL" sz="600" b="1" dirty="0">
              <a:solidFill>
                <a:srgbClr val="FFFFFF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3" name="pole tekstowe 2"/>
          <p:cNvSpPr txBox="1"/>
          <p:nvPr/>
        </p:nvSpPr>
        <p:spPr>
          <a:xfrm>
            <a:off x="277602" y="1648862"/>
            <a:ext cx="114340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</a:pPr>
            <a:r>
              <a:rPr lang="pl-PL" sz="600" b="1" dirty="0">
                <a:solidFill>
                  <a:srgbClr val="68B133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tworzenie Wirtualnego Punktu Obrotu gazem </a:t>
            </a:r>
          </a:p>
        </p:txBody>
      </p:sp>
      <p:cxnSp>
        <p:nvCxnSpPr>
          <p:cNvPr id="97" name="OTLSHAPE_M_93afb554552a4221a5380f7919409aa7_Connector1"/>
          <p:cNvCxnSpPr/>
          <p:nvPr>
            <p:custDataLst>
              <p:tags r:id="rId66"/>
            </p:custDataLst>
          </p:nvPr>
        </p:nvCxnSpPr>
        <p:spPr>
          <a:xfrm>
            <a:off x="4168096" y="2268131"/>
            <a:ext cx="1" cy="627160"/>
          </a:xfrm>
          <a:prstGeom prst="line">
            <a:avLst/>
          </a:prstGeom>
          <a:ln w="9525" cap="flat" cmpd="sng" algn="ctr">
            <a:solidFill>
              <a:srgbClr val="86BC2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OTLSHAPE_M_93afb554552a4221a5380f7919409aa7_Title"/>
          <p:cNvSpPr txBox="1"/>
          <p:nvPr>
            <p:custDataLst>
              <p:tags r:id="rId67"/>
            </p:custDataLst>
          </p:nvPr>
        </p:nvSpPr>
        <p:spPr>
          <a:xfrm>
            <a:off x="3681222" y="1324132"/>
            <a:ext cx="1053013" cy="923330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  <a:defRPr/>
            </a:pP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01.09.2015 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Zmiana identyfikacji wizualnej</a:t>
            </a:r>
          </a:p>
          <a:p>
            <a:pPr marL="171450" indent="-171450" defTabSz="367502" eaLnBrk="1" hangingPunct="1">
              <a:buFont typeface="Wingdings" panose="05000000000000000000" pitchFamily="2" charset="2"/>
              <a:buChar char="§"/>
              <a:defRPr/>
            </a:pPr>
            <a:endParaRPr lang="pl-PL" sz="600" b="1" spc="-5" dirty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  <a:p>
            <a:pPr marL="171450" indent="-171450" defTabSz="367502" eaLnBrk="1" hangingPunct="1">
              <a:buFont typeface="Wingdings" panose="05000000000000000000" pitchFamily="2" charset="2"/>
              <a:buChar char="§"/>
              <a:defRPr/>
            </a:pP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0.09.2015 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ierwszy egzamin dla kandydatów na maklerów na RIF 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5 osób)</a:t>
            </a:r>
            <a:br>
              <a:rPr lang="pl-PL" sz="600" b="1" spc="-5" dirty="0" smtClean="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endParaRPr lang="pl-PL" sz="600" b="1" spc="-5" dirty="0" smtClean="0">
              <a:solidFill>
                <a:srgbClr val="000000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7" name="OTLSHAPE_M_52743de8bb6d4044896f473898fe9da7_Connector1"/>
          <p:cNvCxnSpPr/>
          <p:nvPr>
            <p:custDataLst>
              <p:tags r:id="rId68"/>
            </p:custDataLst>
          </p:nvPr>
        </p:nvCxnSpPr>
        <p:spPr>
          <a:xfrm>
            <a:off x="5025953" y="3363057"/>
            <a:ext cx="0" cy="860249"/>
          </a:xfrm>
          <a:prstGeom prst="line">
            <a:avLst/>
          </a:prstGeom>
          <a:ln w="9525" cap="flat" cmpd="sng" algn="ctr">
            <a:solidFill>
              <a:srgbClr val="087FC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OTLSHAPE_M_52743de8bb6d4044896f473898fe9da7_Shape"/>
          <p:cNvSpPr/>
          <p:nvPr>
            <p:custDataLst>
              <p:tags r:id="rId69"/>
            </p:custDataLst>
          </p:nvPr>
        </p:nvSpPr>
        <p:spPr>
          <a:xfrm rot="16200000">
            <a:off x="6210237" y="1324527"/>
            <a:ext cx="128258" cy="128258"/>
          </a:xfrm>
          <a:prstGeom prst="flowChartMerge">
            <a:avLst/>
          </a:prstGeom>
          <a:solidFill>
            <a:schemeClr val="tx1">
              <a:lumMod val="50000"/>
              <a:lumOff val="5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cxnSp>
        <p:nvCxnSpPr>
          <p:cNvPr id="112" name="OTLSHAPE_M_52743de8bb6d4044896f473898fe9da7_Connector1"/>
          <p:cNvCxnSpPr/>
          <p:nvPr>
            <p:custDataLst>
              <p:tags r:id="rId70"/>
            </p:custDataLst>
          </p:nvPr>
        </p:nvCxnSpPr>
        <p:spPr>
          <a:xfrm flipH="1">
            <a:off x="6406248" y="1487755"/>
            <a:ext cx="7816" cy="1411886"/>
          </a:xfrm>
          <a:prstGeom prst="line">
            <a:avLst/>
          </a:prstGeom>
          <a:ln w="9525" cap="flat" cmpd="sng" algn="ctr">
            <a:solidFill>
              <a:srgbClr val="087FC3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3" name="OTLSHAPE_M_a54bc827b05146d18b559f618723e2b4_Title"/>
          <p:cNvSpPr txBox="1">
            <a:spLocks noChangeArrowheads="1"/>
          </p:cNvSpPr>
          <p:nvPr>
            <p:custDataLst>
              <p:tags r:id="rId71"/>
            </p:custDataLst>
          </p:nvPr>
        </p:nvSpPr>
        <p:spPr bwMode="auto">
          <a:xfrm>
            <a:off x="6321609" y="1079130"/>
            <a:ext cx="982435" cy="101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</a:pPr>
            <a:r>
              <a:rPr lang="pl-PL" altLang="pl-PL" sz="600" b="1" dirty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Szkolenia </a:t>
            </a:r>
            <a:r>
              <a:rPr lang="pl-PL" altLang="pl-PL" sz="600" b="1" dirty="0" smtClean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dla </a:t>
            </a:r>
            <a:r>
              <a:rPr lang="pl-PL" altLang="pl-PL" sz="600" b="1" dirty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kandydatów na Maklera Giełdowego </a:t>
            </a:r>
            <a:r>
              <a:rPr lang="pl-PL" altLang="pl-PL" sz="600" b="1" dirty="0" smtClean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i egzaminy poświadczone </a:t>
            </a:r>
            <a:r>
              <a:rPr lang="pl-PL" altLang="pl-PL" sz="600" b="1" dirty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certyfikatem </a:t>
            </a:r>
            <a:r>
              <a:rPr lang="pl-PL" altLang="pl-PL" sz="600" b="1" dirty="0" smtClean="0">
                <a:solidFill>
                  <a:srgbClr val="68B133"/>
                </a:solidFill>
                <a:latin typeface="Verdana" panose="020B0604030504040204" pitchFamily="34" charset="0"/>
                <a:ea typeface="ＭＳ Ｐゴシック" charset="0"/>
              </a:rPr>
              <a:t>nadania tytułu Maklera Giełdowego</a:t>
            </a:r>
          </a:p>
          <a:p>
            <a:pPr marL="171450" indent="-171450" defTabSz="367502" eaLnBrk="1" hangingPunct="1">
              <a:buFont typeface="Wingdings" panose="05000000000000000000" pitchFamily="2" charset="2"/>
              <a:buChar char="§"/>
            </a:pPr>
            <a:endParaRPr lang="pl-PL" altLang="pl-PL" sz="600" b="1" dirty="0">
              <a:solidFill>
                <a:srgbClr val="68B133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114" name="OTLSHAPE_M_93afb554552a4221a5380f7919409aa7_Shape"/>
          <p:cNvSpPr/>
          <p:nvPr>
            <p:custDataLst>
              <p:tags r:id="rId72"/>
            </p:custDataLst>
          </p:nvPr>
        </p:nvSpPr>
        <p:spPr>
          <a:xfrm>
            <a:off x="6812911" y="3407588"/>
            <a:ext cx="193894" cy="175300"/>
          </a:xfrm>
          <a:prstGeom prst="teardrop">
            <a:avLst/>
          </a:prstGeom>
          <a:solidFill>
            <a:srgbClr val="86BC2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15" name="Prostokąt 6"/>
          <p:cNvSpPr>
            <a:spLocks noChangeArrowheads="1"/>
          </p:cNvSpPr>
          <p:nvPr/>
        </p:nvSpPr>
        <p:spPr bwMode="auto">
          <a:xfrm>
            <a:off x="6406248" y="3596530"/>
            <a:ext cx="1153427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/>
          <a:p>
            <a:pPr marL="171450" indent="-171450" defTabSz="367502" eaLnBrk="1" hangingPunct="1">
              <a:buFont typeface="Wingdings" panose="05000000000000000000" pitchFamily="2" charset="2"/>
              <a:buChar char="§"/>
            </a:pPr>
            <a: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/>
            </a:r>
            <a:b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</a:br>
            <a:r>
              <a:rPr lang="pl-PL" altLang="pl-PL" sz="600" b="1" dirty="0" smtClean="0">
                <a:solidFill>
                  <a:srgbClr val="000000"/>
                </a:solidFill>
                <a:latin typeface="Verdana" panose="020B0604030504040204" pitchFamily="34" charset="0"/>
                <a:ea typeface="ＭＳ Ｐゴシック" charset="0"/>
              </a:rPr>
              <a:t>Uruchomienie przez TGE RDNg na SGT</a:t>
            </a:r>
            <a:endParaRPr lang="en-US" altLang="pl-PL" sz="600" b="1" dirty="0">
              <a:solidFill>
                <a:srgbClr val="000000"/>
              </a:solidFill>
              <a:latin typeface="Verdana" panose="020B0604030504040204" pitchFamily="34" charset="0"/>
              <a:ea typeface="ＭＳ Ｐゴシック" charset="0"/>
            </a:endParaRPr>
          </a:p>
        </p:txBody>
      </p:sp>
      <p:sp>
        <p:nvSpPr>
          <p:cNvPr id="116" name="OTLSHAPE_M_93afb554552a4221a5380f7919409aa7_Shape"/>
          <p:cNvSpPr/>
          <p:nvPr>
            <p:custDataLst>
              <p:tags r:id="rId73"/>
            </p:custDataLst>
          </p:nvPr>
        </p:nvSpPr>
        <p:spPr>
          <a:xfrm rot="14729927">
            <a:off x="1933979" y="1133627"/>
            <a:ext cx="193894" cy="175300"/>
          </a:xfrm>
          <a:prstGeom prst="teardrop">
            <a:avLst/>
          </a:prstGeom>
          <a:solidFill>
            <a:srgbClr val="86BC2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96" name="Rectangle 2"/>
          <p:cNvSpPr txBox="1">
            <a:spLocks/>
          </p:cNvSpPr>
          <p:nvPr/>
        </p:nvSpPr>
        <p:spPr bwMode="auto">
          <a:xfrm>
            <a:off x="223838" y="195263"/>
            <a:ext cx="5899150" cy="546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0" numCol="1" anchor="ctr" anchorCtr="0" compatLnSpc="1">
            <a:prstTxWarp prst="textNoShape">
              <a:avLst/>
            </a:prstTxWarp>
          </a:bodyPr>
          <a:lstStyle>
            <a:lvl1pPr algn="l" defTabSz="6413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algn="l" defTabSz="6413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algn="l" defTabSz="6413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algn="l" defTabSz="6413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algn="l" defTabSz="641350" rtl="0" eaLnBrk="0" fontAlgn="base" hangingPunct="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457200" algn="l" defTabSz="64135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6pPr>
            <a:lvl7pPr marL="914400" algn="l" defTabSz="64135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7pPr>
            <a:lvl8pPr marL="1371600" algn="l" defTabSz="64135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8pPr>
            <a:lvl9pPr marL="1828800" algn="l" defTabSz="641350" rtl="0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 b="1">
                <a:solidFill>
                  <a:srgbClr val="646567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9pPr>
          </a:lstStyle>
          <a:p>
            <a:pPr>
              <a:defRPr/>
            </a:pPr>
            <a:r>
              <a:rPr lang="pl-PL" altLang="pl-PL" sz="1600" dirty="0"/>
              <a:t>Budowa hurtowego rynku gazu na TGE </a:t>
            </a:r>
            <a:endParaRPr lang="pl-PL" altLang="pl-PL" sz="1600" dirty="0" smtClean="0"/>
          </a:p>
        </p:txBody>
      </p:sp>
      <p:sp>
        <p:nvSpPr>
          <p:cNvPr id="2" name="Symbol zastępczy numeru slajdu 1"/>
          <p:cNvSpPr>
            <a:spLocks noGrp="1"/>
          </p:cNvSpPr>
          <p:nvPr>
            <p:ph type="sldNum" sz="quarter" idx="12"/>
          </p:nvPr>
        </p:nvSpPr>
        <p:spPr>
          <a:xfrm>
            <a:off x="6645123" y="4958266"/>
            <a:ext cx="914551" cy="163265"/>
          </a:xfrm>
        </p:spPr>
        <p:txBody>
          <a:bodyPr/>
          <a:lstStyle/>
          <a:p>
            <a:pPr algn="r">
              <a:defRPr/>
            </a:pPr>
            <a:fld id="{8BD30374-D65B-4D9D-8160-207451D1C402}" type="slidenum">
              <a:rPr lang="en-US" altLang="pl-PL" sz="600" smtClean="0">
                <a:solidFill>
                  <a:srgbClr val="FFFFFF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pPr algn="r">
                <a:defRPr/>
              </a:pPr>
              <a:t>2</a:t>
            </a:fld>
            <a:endParaRPr lang="en-US" altLang="pl-PL" sz="600" dirty="0">
              <a:solidFill>
                <a:srgbClr val="FFFFFF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98" name="OTLSHAPE_TB_00000000000000000000000000000000_Separator8"/>
          <p:cNvCxnSpPr/>
          <p:nvPr>
            <p:custDataLst>
              <p:tags r:id="rId74"/>
            </p:custDataLst>
          </p:nvPr>
        </p:nvCxnSpPr>
        <p:spPr>
          <a:xfrm>
            <a:off x="4449542" y="3064826"/>
            <a:ext cx="0" cy="196850"/>
          </a:xfrm>
          <a:prstGeom prst="line">
            <a:avLst/>
          </a:prstGeom>
          <a:ln w="6350" cap="flat" cmpd="sng" algn="ctr">
            <a:solidFill>
              <a:schemeClr val="lt2">
                <a:alpha val="29804"/>
              </a:schemeClr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OTLSHAPE_M_93afb554552a4221a5380f7919409aa7_Shape"/>
          <p:cNvSpPr/>
          <p:nvPr>
            <p:custDataLst>
              <p:tags r:id="rId75"/>
            </p:custDataLst>
          </p:nvPr>
        </p:nvSpPr>
        <p:spPr>
          <a:xfrm rot="14729927">
            <a:off x="2978199" y="2262157"/>
            <a:ext cx="193894" cy="175300"/>
          </a:xfrm>
          <a:prstGeom prst="teardrop">
            <a:avLst/>
          </a:prstGeom>
          <a:solidFill>
            <a:schemeClr val="bg1">
              <a:lumMod val="50000"/>
            </a:schemeClr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05" name="OTLSHAPE_M_93afb554552a4221a5380f7919409aa7_Shape"/>
          <p:cNvSpPr/>
          <p:nvPr>
            <p:custDataLst>
              <p:tags r:id="rId76"/>
            </p:custDataLst>
          </p:nvPr>
        </p:nvSpPr>
        <p:spPr>
          <a:xfrm rot="18822182">
            <a:off x="5503588" y="2689248"/>
            <a:ext cx="193894" cy="175300"/>
          </a:xfrm>
          <a:prstGeom prst="teardrop">
            <a:avLst/>
          </a:prstGeom>
          <a:solidFill>
            <a:srgbClr val="86BC2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09" name="OTLSHAPE_M_93afb554552a4221a5380f7919409aa7_Shape"/>
          <p:cNvSpPr/>
          <p:nvPr>
            <p:custDataLst>
              <p:tags r:id="rId77"/>
            </p:custDataLst>
          </p:nvPr>
        </p:nvSpPr>
        <p:spPr>
          <a:xfrm>
            <a:off x="1072952" y="4058195"/>
            <a:ext cx="193894" cy="175300"/>
          </a:xfrm>
          <a:prstGeom prst="teardrop">
            <a:avLst/>
          </a:prstGeom>
          <a:solidFill>
            <a:srgbClr val="86BC2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  <p:sp>
        <p:nvSpPr>
          <p:cNvPr id="117" name="OTLSHAPE_M_93afb554552a4221a5380f7919409aa7_Shape"/>
          <p:cNvSpPr/>
          <p:nvPr>
            <p:custDataLst>
              <p:tags r:id="rId78"/>
            </p:custDataLst>
          </p:nvPr>
        </p:nvSpPr>
        <p:spPr>
          <a:xfrm rot="15223881">
            <a:off x="4258353" y="2201958"/>
            <a:ext cx="193894" cy="175300"/>
          </a:xfrm>
          <a:prstGeom prst="teardrop">
            <a:avLst/>
          </a:prstGeom>
          <a:solidFill>
            <a:srgbClr val="86BC25"/>
          </a:solidFill>
          <a:ln w="12700" cap="flat" cmpd="sng" algn="ctr">
            <a:noFill/>
            <a:prstDash val="solid"/>
            <a:miter lim="800000"/>
          </a:ln>
          <a:effectLst/>
          <a:scene3d>
            <a:camera prst="orthographicFront"/>
            <a:lightRig rig="threePt" dir="t"/>
          </a:scene3d>
          <a:sp3d>
            <a:bevelT h="12700"/>
          </a:sp3d>
          <a:extLst>
            <a:ext uri="{53640926-AAD7-44d8-BBD7-CCE9431645EC}">
              <a14:shadowObscured xmlns:a14="http://schemas.microsoft.com/office/drawing/2010/main" val="1"/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367502" eaLnBrk="1" hangingPunct="1">
              <a:defRPr/>
            </a:pPr>
            <a:endParaRPr lang="en-US" sz="600">
              <a:solidFill>
                <a:srgbClr val="FFFFFF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56486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Tytuł 2"/>
          <p:cNvSpPr>
            <a:spLocks noGrp="1"/>
          </p:cNvSpPr>
          <p:nvPr>
            <p:ph type="title"/>
          </p:nvPr>
        </p:nvSpPr>
        <p:spPr>
          <a:xfrm>
            <a:off x="223838" y="156300"/>
            <a:ext cx="5899150" cy="544512"/>
          </a:xfrm>
        </p:spPr>
        <p:txBody>
          <a:bodyPr/>
          <a:lstStyle/>
          <a:p>
            <a:r>
              <a:rPr lang="pl-PL" altLang="pl-PL" sz="1600" dirty="0" smtClean="0">
                <a:solidFill>
                  <a:srgbClr val="595959"/>
                </a:solidFill>
              </a:rPr>
              <a:t>Rynek gazu w Polsce</a:t>
            </a:r>
            <a:br>
              <a:rPr lang="pl-PL" altLang="pl-PL" sz="1600" dirty="0" smtClean="0">
                <a:solidFill>
                  <a:srgbClr val="595959"/>
                </a:solidFill>
              </a:rPr>
            </a:br>
            <a:r>
              <a:rPr lang="pl-PL" altLang="pl-PL" sz="1400" dirty="0" smtClean="0">
                <a:solidFill>
                  <a:srgbClr val="595959"/>
                </a:solidFill>
              </a:rPr>
              <a:t>Rekordowy wolumen na rynku spot w 2015 r.</a:t>
            </a:r>
          </a:p>
        </p:txBody>
      </p:sp>
      <p:sp>
        <p:nvSpPr>
          <p:cNvPr id="24580" name="Symbol zastępczy zawartości 1"/>
          <p:cNvSpPr txBox="1">
            <a:spLocks/>
          </p:cNvSpPr>
          <p:nvPr/>
        </p:nvSpPr>
        <p:spPr bwMode="auto">
          <a:xfrm>
            <a:off x="4013201" y="881063"/>
            <a:ext cx="3431473" cy="3954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marL="190500" indent="-190500"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1pPr>
            <a:lvl2pPr marL="581025" indent="-200025"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2pPr>
            <a:lvl3pPr marL="971550" indent="-200025"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3pPr>
            <a:lvl4pPr marL="1362075" indent="-200025"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4pPr>
            <a:lvl5pPr marL="1712913" indent="-160338" defTabSz="641350"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5pPr>
            <a:lvl6pPr marL="2170113" indent="-160338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6pPr>
            <a:lvl7pPr marL="2627313" indent="-160338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7pPr>
            <a:lvl8pPr marL="3084513" indent="-160338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8pPr>
            <a:lvl9pPr marL="3541713" indent="-160338" defTabSz="641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Times New Roman" panose="02020603050405020304" pitchFamily="18" charset="0"/>
                <a:ea typeface="ＭＳ Ｐゴシック" panose="020B0600070205080204" pitchFamily="34" charset="-128"/>
              </a:defRPr>
            </a:lvl9pPr>
          </a:lstStyle>
          <a:p>
            <a:pPr algn="ctr" eaLnBrk="1" hangingPunct="1">
              <a:lnSpc>
                <a:spcPct val="120000"/>
              </a:lnSpc>
              <a:spcBef>
                <a:spcPts val="700"/>
              </a:spcBef>
              <a:buClr>
                <a:srgbClr val="68B133"/>
              </a:buClr>
              <a:defRPr/>
            </a:pPr>
            <a:r>
              <a:rPr lang="pl-PL" altLang="pl-P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Obligo gazowe było bodźcem do rozwoju </a:t>
            </a:r>
            <a:br>
              <a:rPr lang="pl-PL" altLang="pl-P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</a:br>
            <a:r>
              <a:rPr lang="pl-PL" altLang="pl-PL" sz="10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całego sektora energii</a:t>
            </a:r>
          </a:p>
          <a:p>
            <a:pPr algn="just" eaLnBrk="1" hangingPunct="1">
              <a:lnSpc>
                <a:spcPct val="120000"/>
              </a:lnSpc>
              <a:spcBef>
                <a:spcPts val="700"/>
              </a:spcBef>
              <a:buClr>
                <a:srgbClr val="68B133"/>
              </a:buClr>
              <a:buFont typeface="Symbol" panose="05050102010706020507" pitchFamily="18" charset="2"/>
              <a:buChar char="¨"/>
              <a:defRPr/>
            </a:pPr>
            <a:r>
              <a:rPr lang="pl-PL" altLang="pl-PL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TGE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</a:rPr>
              <a:t>: W 2015 r. w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olumen obrotu na rynku spot gazu ziemnego osiągnął rekordową wartość 13,9 </a:t>
            </a:r>
            <a:r>
              <a:rPr lang="pl-PL" altLang="pl-P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T</a:t>
            </a:r>
            <a:r>
              <a:rPr lang="pl-PL" altLang="pl-PL" sz="9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Wh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 </a:t>
            </a:r>
            <a:b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</a:b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Verdana" panose="020B0604030504040204" pitchFamily="34" charset="0"/>
                <a:cs typeface="Times New Roman" panose="02020603050405020304" pitchFamily="18" charset="0"/>
              </a:rPr>
              <a:t>i był o 111,8 proc. wyższy niż rok wcześniej </a:t>
            </a:r>
          </a:p>
          <a:p>
            <a:pPr algn="just" eaLnBrk="1" hangingPunct="1">
              <a:lnSpc>
                <a:spcPct val="120000"/>
              </a:lnSpc>
              <a:spcBef>
                <a:spcPts val="700"/>
              </a:spcBef>
              <a:buClr>
                <a:srgbClr val="68B133"/>
              </a:buClr>
              <a:buFont typeface="Symbol" panose="05050102010706020507" pitchFamily="18" charset="2"/>
              <a:buChar char="¨"/>
              <a:defRPr/>
            </a:pPr>
            <a:r>
              <a:rPr lang="pl-PL" altLang="pl-PL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TGE: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 W 2015 r. łączny wolumen obrotu na rynkach gazu ziemnego wyniósł 106,9 </a:t>
            </a:r>
            <a:r>
              <a:rPr lang="pl-PL" altLang="pl-PL" sz="900" dirty="0" err="1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T</a:t>
            </a:r>
            <a:r>
              <a:rPr lang="pl-PL" altLang="pl-PL" sz="900" dirty="0" err="1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Wh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 i był o 4,3 proc. niższy niż w 2014 r.</a:t>
            </a:r>
          </a:p>
          <a:p>
            <a:pPr algn="just" eaLnBrk="1" hangingPunct="1">
              <a:lnSpc>
                <a:spcPct val="120000"/>
              </a:lnSpc>
              <a:spcBef>
                <a:spcPts val="700"/>
              </a:spcBef>
              <a:buClr>
                <a:srgbClr val="68B133"/>
              </a:buClr>
              <a:buFont typeface="Symbol" panose="05050102010706020507" pitchFamily="18" charset="2"/>
              <a:buChar char="¨"/>
              <a:defRPr/>
            </a:pPr>
            <a:r>
              <a:rPr lang="pl-PL" altLang="pl-PL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RE</a:t>
            </a:r>
            <a:r>
              <a:rPr lang="pl-PL" altLang="pl-PL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Times New Roman" panose="02020603050405020304" pitchFamily="18" charset="0"/>
              </a:rPr>
              <a:t>:</a:t>
            </a:r>
            <a:r>
              <a:rPr lang="pl-PL" altLang="pl-PL" sz="9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 Q4 2015 r. - </a:t>
            </a:r>
            <a:r>
              <a:rPr lang="pl-PL" sz="900" dirty="0" smtClean="0">
                <a:latin typeface="+mn-lt"/>
              </a:rPr>
              <a:t>177 podmiotów posiadało </a:t>
            </a:r>
            <a:r>
              <a:rPr lang="pl-PL" sz="900" dirty="0">
                <a:latin typeface="+mn-lt"/>
              </a:rPr>
              <a:t>koncesję na obrót paliwami gazowymi. Natomiast 63 przedsiębiorstwa aktywnie uczestniczyły w obrocie gazem </a:t>
            </a:r>
            <a:r>
              <a:rPr lang="pl-PL" sz="900" dirty="0" smtClean="0">
                <a:latin typeface="+mn-lt"/>
              </a:rPr>
              <a:t>ziemnym</a:t>
            </a:r>
            <a:endParaRPr lang="pl-PL" sz="900" dirty="0">
              <a:latin typeface="+mn-lt"/>
            </a:endParaRPr>
          </a:p>
          <a:p>
            <a:pPr algn="just" eaLnBrk="1" hangingPunct="1">
              <a:lnSpc>
                <a:spcPct val="120000"/>
              </a:lnSpc>
              <a:spcBef>
                <a:spcPts val="700"/>
              </a:spcBef>
              <a:buClr>
                <a:srgbClr val="68B133"/>
              </a:buClr>
              <a:buFont typeface="Symbol" panose="05050102010706020507" pitchFamily="18" charset="2"/>
              <a:buChar char="¨"/>
              <a:defRPr/>
            </a:pPr>
            <a:r>
              <a:rPr lang="pl-PL" altLang="pl-PL" sz="900" b="1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</a:rPr>
              <a:t>URE: </a:t>
            </a:r>
            <a:r>
              <a:rPr lang="pl-PL" sz="900" dirty="0">
                <a:latin typeface="+mn-lt"/>
              </a:rPr>
              <a:t>W 2011 r. zarejestrowano jedynie kilka przypadków zmiany sprzedawcy, w kolejnych zaś latach ich liczba zwiększyła się do 210 w 2012 r., do 429 </a:t>
            </a:r>
            <a:r>
              <a:rPr lang="pl-PL" sz="900" dirty="0" smtClean="0">
                <a:latin typeface="+mn-lt"/>
              </a:rPr>
              <a:t>w </a:t>
            </a:r>
            <a:r>
              <a:rPr lang="pl-PL" sz="900" dirty="0">
                <a:latin typeface="+mn-lt"/>
              </a:rPr>
              <a:t>2013 r. oraz do 7 007 w 2014 r. </a:t>
            </a:r>
            <a:r>
              <a:rPr lang="pl-PL" sz="900" b="1" dirty="0">
                <a:latin typeface="+mn-lt"/>
              </a:rPr>
              <a:t>Natomiast od początku prowadzenia monitoringu do </a:t>
            </a:r>
            <a:r>
              <a:rPr lang="pl-PL" sz="900" b="1" dirty="0" smtClean="0">
                <a:latin typeface="+mn-lt"/>
              </a:rPr>
              <a:t>końca </a:t>
            </a:r>
            <a:r>
              <a:rPr lang="pl-PL" sz="900" b="1" dirty="0">
                <a:latin typeface="+mn-lt"/>
              </a:rPr>
              <a:t>2015 r. odnotowano 30 749 zmian sprzedawcy </a:t>
            </a:r>
            <a:r>
              <a:rPr lang="pl-PL" sz="900" b="1" dirty="0" smtClean="0">
                <a:latin typeface="+mn-lt"/>
              </a:rPr>
              <a:t>gazu</a:t>
            </a:r>
            <a:endParaRPr lang="en-US" altLang="pl-PL" sz="900" b="1" dirty="0" smtClean="0">
              <a:solidFill>
                <a:schemeClr val="tx1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9" name="Prostokąt 8"/>
          <p:cNvSpPr/>
          <p:nvPr/>
        </p:nvSpPr>
        <p:spPr>
          <a:xfrm>
            <a:off x="64357" y="3467100"/>
            <a:ext cx="1956532" cy="642938"/>
          </a:xfrm>
          <a:prstGeom prst="rect">
            <a:avLst/>
          </a:prstGeom>
          <a:solidFill>
            <a:srgbClr val="6465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2014 r.: </a:t>
            </a:r>
          </a:p>
          <a:p>
            <a:pPr algn="ctr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111,6 </a:t>
            </a:r>
            <a:r>
              <a:rPr lang="pl-PL" altLang="pl-PL" sz="800" b="1" dirty="0" err="1">
                <a:solidFill>
                  <a:srgbClr val="FFFFFF"/>
                </a:solidFill>
                <a:ea typeface="ＭＳ Ｐゴシック" panose="020B0600070205080204" pitchFamily="34" charset="-128"/>
              </a:rPr>
              <a:t>TWh</a:t>
            </a:r>
            <a:endParaRPr lang="pl-PL" altLang="pl-PL" sz="800" b="1" dirty="0">
              <a:solidFill>
                <a:srgbClr val="FFFFFF"/>
              </a:solidFill>
              <a:ea typeface="ＭＳ Ｐゴシック" panose="020B0600070205080204" pitchFamily="34" charset="-128"/>
            </a:endParaRPr>
          </a:p>
          <a:p>
            <a:pPr algn="ctr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w przybliżeniu 10,17 mld m³</a:t>
            </a:r>
          </a:p>
        </p:txBody>
      </p:sp>
      <p:sp>
        <p:nvSpPr>
          <p:cNvPr id="10" name="Prostokąt 9"/>
          <p:cNvSpPr/>
          <p:nvPr/>
        </p:nvSpPr>
        <p:spPr>
          <a:xfrm>
            <a:off x="2120901" y="4191000"/>
            <a:ext cx="1892300" cy="644525"/>
          </a:xfrm>
          <a:prstGeom prst="rect">
            <a:avLst/>
          </a:prstGeom>
          <a:solidFill>
            <a:srgbClr val="68B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2015 r.:</a:t>
            </a:r>
          </a:p>
          <a:p>
            <a:pPr algn="ctr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66 aktywnych uczestników rynków gazu na TGE, </a:t>
            </a:r>
            <a:b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</a:b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21 bezpośrednich członków</a:t>
            </a:r>
          </a:p>
        </p:txBody>
      </p:sp>
      <p:sp>
        <p:nvSpPr>
          <p:cNvPr id="12" name="Prostokąt 11"/>
          <p:cNvSpPr/>
          <p:nvPr/>
        </p:nvSpPr>
        <p:spPr>
          <a:xfrm>
            <a:off x="2120900" y="3467100"/>
            <a:ext cx="1889125" cy="642938"/>
          </a:xfrm>
          <a:prstGeom prst="rect">
            <a:avLst/>
          </a:prstGeom>
          <a:solidFill>
            <a:srgbClr val="6465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pl-PL" sz="800" b="1" dirty="0">
                <a:ea typeface="Verdana" panose="020B0604030504040204" pitchFamily="34" charset="0"/>
                <a:cs typeface="Verdana" panose="020B0604030504040204" pitchFamily="34" charset="0"/>
              </a:rPr>
              <a:t>2014 r.:</a:t>
            </a:r>
          </a:p>
          <a:p>
            <a:pPr algn="ctr">
              <a:defRPr/>
            </a:pPr>
            <a:r>
              <a:rPr lang="pl-PL" sz="800" b="1" dirty="0">
                <a:ea typeface="Verdana" panose="020B0604030504040204" pitchFamily="34" charset="0"/>
                <a:cs typeface="Verdana" panose="020B0604030504040204" pitchFamily="34" charset="0"/>
              </a:rPr>
              <a:t>48 aktywnych uczestników rynków gazu na TGE  </a:t>
            </a:r>
          </a:p>
        </p:txBody>
      </p:sp>
      <p:sp>
        <p:nvSpPr>
          <p:cNvPr id="13" name="Prostokąt 12"/>
          <p:cNvSpPr/>
          <p:nvPr/>
        </p:nvSpPr>
        <p:spPr>
          <a:xfrm>
            <a:off x="64357" y="4192588"/>
            <a:ext cx="1942088" cy="642937"/>
          </a:xfrm>
          <a:prstGeom prst="rect">
            <a:avLst/>
          </a:prstGeom>
          <a:solidFill>
            <a:srgbClr val="68B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pl-PL" altLang="pl-PL" sz="800" b="1" dirty="0">
              <a:solidFill>
                <a:srgbClr val="FFFFFF"/>
              </a:solidFill>
              <a:ea typeface="ＭＳ Ｐゴシック" panose="020B0600070205080204" pitchFamily="34" charset="-128"/>
            </a:endParaRPr>
          </a:p>
          <a:p>
            <a:pPr algn="ctr" eaLnBrk="1" hangingPunct="1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2015 r.:</a:t>
            </a:r>
          </a:p>
          <a:p>
            <a:pPr algn="ctr" eaLnBrk="1" hangingPunct="1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106,9 </a:t>
            </a:r>
            <a:r>
              <a:rPr lang="pl-PL" altLang="pl-PL" sz="800" b="1" dirty="0" err="1">
                <a:solidFill>
                  <a:srgbClr val="FFFFFF"/>
                </a:solidFill>
                <a:ea typeface="ＭＳ Ｐゴシック" panose="020B0600070205080204" pitchFamily="34" charset="-128"/>
              </a:rPr>
              <a:t>TWh</a:t>
            </a: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 </a:t>
            </a:r>
          </a:p>
          <a:p>
            <a:pPr algn="ctr" eaLnBrk="1" hangingPunct="1">
              <a:defRPr/>
            </a:pPr>
            <a:r>
              <a:rPr lang="pl-PL" altLang="pl-PL" sz="8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w przybliżeniu 9,7 mld m³</a:t>
            </a:r>
          </a:p>
          <a:p>
            <a:pPr algn="ctr" eaLnBrk="1" hangingPunct="1">
              <a:defRPr/>
            </a:pPr>
            <a:endParaRPr lang="pl-PL" altLang="pl-PL" sz="1000" b="1" dirty="0">
              <a:solidFill>
                <a:srgbClr val="FFFFFF"/>
              </a:solidFill>
              <a:ea typeface="ＭＳ Ｐゴシック" panose="020B0600070205080204" pitchFamily="34" charset="-128"/>
            </a:endParaRPr>
          </a:p>
        </p:txBody>
      </p:sp>
      <p:graphicFrame>
        <p:nvGraphicFramePr>
          <p:cNvPr id="23561" name="Objec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0998088"/>
              </p:ext>
            </p:extLst>
          </p:nvPr>
        </p:nvGraphicFramePr>
        <p:xfrm>
          <a:off x="142875" y="881063"/>
          <a:ext cx="3867150" cy="23542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96" name="Chart" r:id="rId3" imgW="4591179" imgH="2790720" progId="Excel.Chart.8">
                  <p:embed/>
                </p:oleObj>
              </mc:Choice>
              <mc:Fallback>
                <p:oleObj name="Chart" r:id="rId3" imgW="4591179" imgH="2790720" progId="Excel.Chart.8">
                  <p:embed/>
                  <p:pic>
                    <p:nvPicPr>
                      <p:cNvPr id="0" name="Objec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2875" y="881063"/>
                        <a:ext cx="3867150" cy="23542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Symbol zastępczy numeru slajdu 1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42BF78-0EB1-471F-8C89-2C601CA3912C}" type="slidenum">
              <a:rPr lang="pl-PL" altLang="pl-PL" smtClean="0"/>
              <a:pPr>
                <a:defRPr/>
              </a:pPr>
              <a:t>3</a:t>
            </a:fld>
            <a:endParaRPr lang="pl-PL" altLang="pl-PL" dirty="0"/>
          </a:p>
        </p:txBody>
      </p:sp>
    </p:spTree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8371" name="Symbol zastępczy zawartości 1"/>
          <p:cNvSpPr>
            <a:spLocks noGrp="1"/>
          </p:cNvSpPr>
          <p:nvPr>
            <p:ph idx="1"/>
          </p:nvPr>
        </p:nvSpPr>
        <p:spPr bwMode="auto">
          <a:xfrm>
            <a:off x="301513" y="942975"/>
            <a:ext cx="6495797" cy="3897313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  <a:normAutofit/>
          </a:bodyPr>
          <a:lstStyle/>
          <a:p>
            <a:pPr marL="0" indent="0" algn="just">
              <a:buFont typeface="Symbol" panose="05050102010706020507" pitchFamily="18" charset="2"/>
              <a:buNone/>
            </a:pPr>
            <a:r>
              <a:rPr lang="pl-PL" altLang="pl-PL" sz="950" i="1" dirty="0" smtClean="0">
                <a:solidFill>
                  <a:srgbClr val="68B133"/>
                </a:solidFill>
              </a:rPr>
              <a:t>W dniu 30 listopada 2015 roku weszła w życie nowelizacja Ustawy z dnia 26 października 2000 r. </a:t>
            </a:r>
            <a:br>
              <a:rPr lang="pl-PL" altLang="pl-PL" sz="950" i="1" dirty="0" smtClean="0">
                <a:solidFill>
                  <a:srgbClr val="68B133"/>
                </a:solidFill>
              </a:rPr>
            </a:br>
            <a:r>
              <a:rPr lang="pl-PL" altLang="pl-PL" sz="950" i="1" dirty="0" smtClean="0">
                <a:solidFill>
                  <a:srgbClr val="68B133"/>
                </a:solidFill>
              </a:rPr>
              <a:t>o giełdach towarowych w obszarze maklerów giełd towarowych</a:t>
            </a:r>
          </a:p>
          <a:p>
            <a:pPr marL="0" indent="0" algn="just">
              <a:lnSpc>
                <a:spcPct val="0"/>
              </a:lnSpc>
              <a:buFont typeface="Symbol" panose="05050102010706020507" pitchFamily="18" charset="2"/>
              <a:buNone/>
            </a:pPr>
            <a:endParaRPr lang="pl-PL" altLang="pl-PL" sz="800" i="1" dirty="0" smtClean="0">
              <a:solidFill>
                <a:srgbClr val="68B133"/>
              </a:solidFill>
            </a:endParaRPr>
          </a:p>
          <a:p>
            <a:pPr marL="0" indent="0" algn="just">
              <a:lnSpc>
                <a:spcPct val="0"/>
              </a:lnSpc>
              <a:buFont typeface="Symbol" panose="05050102010706020507" pitchFamily="18" charset="2"/>
              <a:buNone/>
            </a:pPr>
            <a:endParaRPr lang="pl-PL" altLang="pl-PL" sz="950" b="1" dirty="0" smtClean="0">
              <a:solidFill>
                <a:srgbClr val="404040"/>
              </a:solidFill>
            </a:endParaRPr>
          </a:p>
          <a:p>
            <a:pPr marL="0" indent="0" algn="just">
              <a:lnSpc>
                <a:spcPct val="0"/>
              </a:lnSpc>
              <a:buFont typeface="Symbol" panose="05050102010706020507" pitchFamily="18" charset="2"/>
              <a:buNone/>
            </a:pPr>
            <a:r>
              <a:rPr lang="pl-PL" altLang="pl-PL" sz="950" b="1" dirty="0" smtClean="0">
                <a:solidFill>
                  <a:srgbClr val="404040"/>
                </a:solidFill>
              </a:rPr>
              <a:t>Konsekwencje dla TGE:</a:t>
            </a:r>
          </a:p>
          <a:p>
            <a:pPr marL="179388" indent="-179388" algn="just"/>
            <a:r>
              <a:rPr lang="pl-PL" altLang="pl-PL" sz="950" dirty="0" smtClean="0">
                <a:solidFill>
                  <a:srgbClr val="404040"/>
                </a:solidFill>
              </a:rPr>
              <a:t>Deregulacja zawodu maklera giełd towarowych - usunięto przepisy regulujące status prawny </a:t>
            </a:r>
            <a:br>
              <a:rPr lang="pl-PL" altLang="pl-PL" sz="950" dirty="0" smtClean="0">
                <a:solidFill>
                  <a:srgbClr val="404040"/>
                </a:solidFill>
              </a:rPr>
            </a:br>
            <a:r>
              <a:rPr lang="pl-PL" altLang="pl-PL" sz="950" dirty="0" smtClean="0">
                <a:solidFill>
                  <a:srgbClr val="404040"/>
                </a:solidFill>
              </a:rPr>
              <a:t>i zasady wykonywania tego zawodu</a:t>
            </a:r>
          </a:p>
          <a:p>
            <a:pPr marL="179388" indent="-179388" algn="just"/>
            <a:r>
              <a:rPr lang="pl-PL" altLang="pl-PL" sz="950" dirty="0" smtClean="0">
                <a:solidFill>
                  <a:srgbClr val="404040"/>
                </a:solidFill>
              </a:rPr>
              <a:t>TGE certyfikuje osoby, które mogą reprezentować Członka Giełdy w transakcjach giełdowych </a:t>
            </a:r>
            <a:br>
              <a:rPr lang="pl-PL" altLang="pl-PL" sz="950" dirty="0" smtClean="0">
                <a:solidFill>
                  <a:srgbClr val="404040"/>
                </a:solidFill>
              </a:rPr>
            </a:br>
            <a:r>
              <a:rPr lang="pl-PL" altLang="pl-PL" sz="950" dirty="0" smtClean="0">
                <a:solidFill>
                  <a:srgbClr val="404040"/>
                </a:solidFill>
              </a:rPr>
              <a:t>w zakresie Rynku Towarów Giełdowych</a:t>
            </a:r>
          </a:p>
          <a:p>
            <a:pPr marL="179388" indent="-179388" algn="just"/>
            <a:r>
              <a:rPr lang="pl-PL" altLang="pl-PL" sz="950" dirty="0" smtClean="0">
                <a:solidFill>
                  <a:srgbClr val="404040"/>
                </a:solidFill>
              </a:rPr>
              <a:t>TGE certyfikuje osoby, które mogą reprezentować Członka Giełdy w transakcjach giełdowych </a:t>
            </a:r>
            <a:br>
              <a:rPr lang="pl-PL" altLang="pl-PL" sz="950" dirty="0" smtClean="0">
                <a:solidFill>
                  <a:srgbClr val="404040"/>
                </a:solidFill>
              </a:rPr>
            </a:br>
            <a:r>
              <a:rPr lang="pl-PL" altLang="pl-PL" sz="950" dirty="0" smtClean="0">
                <a:solidFill>
                  <a:srgbClr val="404040"/>
                </a:solidFill>
              </a:rPr>
              <a:t>w zakresie Rynku Instrumentów Finansowych</a:t>
            </a:r>
          </a:p>
          <a:p>
            <a:pPr marL="179388" indent="-179388" algn="just">
              <a:lnSpc>
                <a:spcPct val="0"/>
              </a:lnSpc>
              <a:buFont typeface="Symbol" panose="05050102010706020507" pitchFamily="18" charset="2"/>
              <a:buNone/>
            </a:pPr>
            <a:endParaRPr lang="pl-PL" altLang="pl-PL" sz="950" b="1" dirty="0" smtClean="0">
              <a:solidFill>
                <a:srgbClr val="404040"/>
              </a:solidFill>
            </a:endParaRPr>
          </a:p>
          <a:p>
            <a:pPr marL="179388" indent="-179388" algn="just">
              <a:lnSpc>
                <a:spcPct val="0"/>
              </a:lnSpc>
              <a:buFont typeface="Symbol" panose="05050102010706020507" pitchFamily="18" charset="2"/>
              <a:buNone/>
            </a:pPr>
            <a:endParaRPr lang="pl-PL" altLang="pl-PL" sz="950" b="1" dirty="0" smtClean="0">
              <a:solidFill>
                <a:srgbClr val="404040"/>
              </a:solidFill>
            </a:endParaRPr>
          </a:p>
          <a:p>
            <a:pPr marL="179388" indent="-179388" algn="just">
              <a:lnSpc>
                <a:spcPct val="0"/>
              </a:lnSpc>
              <a:buFont typeface="Symbol" panose="05050102010706020507" pitchFamily="18" charset="2"/>
              <a:buNone/>
            </a:pPr>
            <a:r>
              <a:rPr lang="pl-PL" altLang="pl-PL" sz="950" b="1" dirty="0" smtClean="0">
                <a:solidFill>
                  <a:srgbClr val="404040"/>
                </a:solidFill>
              </a:rPr>
              <a:t>Od wejścia w życie ustawy, TGE przeprowadziła szkolenia i egzaminy, certyfikaty uzyskało:</a:t>
            </a:r>
          </a:p>
          <a:p>
            <a:pPr marL="179388" indent="-179388" algn="just"/>
            <a:r>
              <a:rPr lang="pl-PL" altLang="pl-PL" sz="950" dirty="0" smtClean="0"/>
              <a:t>Na Rynku Instrumentów Finansowych - 25 osób</a:t>
            </a:r>
          </a:p>
          <a:p>
            <a:pPr marL="179388" indent="-179388" algn="just"/>
            <a:r>
              <a:rPr lang="pl-PL" altLang="pl-PL" sz="950" dirty="0" smtClean="0"/>
              <a:t>Na Rynku Towarów Giełdowych - 42 osoby </a:t>
            </a:r>
          </a:p>
          <a:p>
            <a:pPr marL="0" indent="0" algn="just">
              <a:buNone/>
            </a:pPr>
            <a:r>
              <a:rPr lang="pl-PL" altLang="pl-PL" sz="950" dirty="0" smtClean="0">
                <a:solidFill>
                  <a:schemeClr val="tx1"/>
                </a:solidFill>
              </a:rPr>
              <a:t>Szczegóły na stronie:</a:t>
            </a:r>
          </a:p>
          <a:p>
            <a:pPr marL="0" indent="0" algn="just">
              <a:buNone/>
            </a:pPr>
            <a:r>
              <a:rPr lang="pl-PL" altLang="pl-PL" sz="950" dirty="0" smtClean="0">
                <a:solidFill>
                  <a:schemeClr val="tx1"/>
                </a:solidFill>
                <a:hlinkClick r:id="rId2"/>
              </a:rPr>
              <a:t>https</a:t>
            </a:r>
            <a:r>
              <a:rPr lang="pl-PL" altLang="pl-PL" sz="950" dirty="0">
                <a:solidFill>
                  <a:schemeClr val="tx1"/>
                </a:solidFill>
                <a:hlinkClick r:id="rId2"/>
              </a:rPr>
              <a:t>://tge.pl/pl/523/szkolenia-na-rynku-</a:t>
            </a:r>
            <a:r>
              <a:rPr lang="pl-PL" altLang="pl-PL" sz="950" dirty="0" smtClean="0">
                <a:solidFill>
                  <a:schemeClr val="tx1"/>
                </a:solidFill>
                <a:hlinkClick r:id="rId2"/>
              </a:rPr>
              <a:t>towarowym</a:t>
            </a:r>
            <a:endParaRPr lang="pl-PL" altLang="pl-PL" sz="950" dirty="0" smtClean="0">
              <a:solidFill>
                <a:schemeClr val="tx1"/>
              </a:solidFill>
            </a:endParaRPr>
          </a:p>
        </p:txBody>
      </p:sp>
      <p:sp>
        <p:nvSpPr>
          <p:cNvPr id="56325" name="Symbol zastępczy numeru slajdu 3"/>
          <p:cNvSpPr>
            <a:spLocks noGrp="1"/>
          </p:cNvSpPr>
          <p:nvPr>
            <p:ph type="sldNum" sz="quarter" idx="1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fld id="{0764001F-CE34-4620-B070-9AB6C75EF618}" type="slidenum">
              <a:rPr lang="pl-PL" altLang="pl-PL" smtClean="0">
                <a:solidFill>
                  <a:srgbClr val="FFFFFF"/>
                </a:solidFill>
              </a:rPr>
              <a:pPr/>
              <a:t>4</a:t>
            </a:fld>
            <a:endParaRPr lang="pl-PL" altLang="pl-PL" smtClean="0">
              <a:solidFill>
                <a:srgbClr val="FFFFFF"/>
              </a:solidFill>
            </a:endParaRPr>
          </a:p>
        </p:txBody>
      </p:sp>
      <p:sp>
        <p:nvSpPr>
          <p:cNvPr id="56326" name="Tytuł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altLang="pl-PL" dirty="0" smtClean="0"/>
              <a:t>Deregulacja zawodu maklera giełdowego</a:t>
            </a:r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 rotWithShape="1">
          <a:blip r:embed="rId3"/>
          <a:srcRect l="38249" t="47425" r="28930" b="24100"/>
          <a:stretch/>
        </p:blipFill>
        <p:spPr>
          <a:xfrm>
            <a:off x="3632082" y="3233467"/>
            <a:ext cx="3616225" cy="19608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734607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tekstu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pl-PL" dirty="0" smtClean="0"/>
              <a:t>Oferta TGE</a:t>
            </a:r>
            <a:endParaRPr lang="pl-PL" dirty="0"/>
          </a:p>
        </p:txBody>
      </p:sp>
    </p:spTree>
    <p:extLst>
      <p:ext uri="{BB962C8B-B14F-4D97-AF65-F5344CB8AC3E}">
        <p14:creationId xmlns:p14="http://schemas.microsoft.com/office/powerpoint/2010/main" val="17519068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idx="1"/>
          </p:nvPr>
        </p:nvSpPr>
        <p:spPr>
          <a:xfrm>
            <a:off x="221189" y="1120994"/>
            <a:ext cx="6954685" cy="1392788"/>
          </a:xfrm>
        </p:spPr>
        <p:txBody>
          <a:bodyPr>
            <a:noAutofit/>
          </a:bodyPr>
          <a:lstStyle/>
          <a:p>
            <a:r>
              <a:rPr lang="pl-PL" dirty="0"/>
              <a:t>Przedsiębiorstwa energetyczne posiadające koncesję na wytwarzanie, przesyłanie, dystrybucję lub obrót energią elektryczną</a:t>
            </a:r>
          </a:p>
          <a:p>
            <a:r>
              <a:rPr lang="pl-PL" dirty="0"/>
              <a:t>Towarowe domy maklerskie oraz domy maklerskie</a:t>
            </a:r>
          </a:p>
          <a:p>
            <a:r>
              <a:rPr lang="pl-PL" dirty="0"/>
              <a:t>Odbiorcy uprawnieni do korzystania z usług przesyłowych, będący osobami prawnymi – odbiorcy końcowi</a:t>
            </a:r>
          </a:p>
          <a:p>
            <a:r>
              <a:rPr lang="pl-PL" dirty="0"/>
              <a:t>Zagraniczne osoby prawne prowadzące działalność maklerską </a:t>
            </a:r>
            <a:br>
              <a:rPr lang="pl-PL" dirty="0"/>
            </a:br>
            <a:r>
              <a:rPr lang="pl-PL" dirty="0"/>
              <a:t>w zakresie obrotu towarami </a:t>
            </a:r>
            <a:r>
              <a:rPr lang="pl-PL" dirty="0" smtClean="0"/>
              <a:t>giełdowymi</a:t>
            </a:r>
            <a:endParaRPr lang="pl-PL" dirty="0"/>
          </a:p>
        </p:txBody>
      </p:sp>
      <p:sp>
        <p:nvSpPr>
          <p:cNvPr id="3" name="Tytuł 2"/>
          <p:cNvSpPr>
            <a:spLocks noGrp="1"/>
          </p:cNvSpPr>
          <p:nvPr>
            <p:ph type="title"/>
          </p:nvPr>
        </p:nvSpPr>
        <p:spPr>
          <a:xfrm>
            <a:off x="223838" y="195263"/>
            <a:ext cx="5634037" cy="546100"/>
          </a:xfrm>
        </p:spPr>
        <p:txBody>
          <a:bodyPr/>
          <a:lstStyle/>
          <a:p>
            <a:r>
              <a:rPr lang="pl-PL" sz="1600" dirty="0"/>
              <a:t>Kto może być uczestnikiem obrotu na rynkach gazu TGE</a:t>
            </a:r>
          </a:p>
        </p:txBody>
      </p:sp>
      <p:sp>
        <p:nvSpPr>
          <p:cNvPr id="4" name="Symbol zastępczy numeru slajdu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1142BF78-0EB1-471F-8C89-2C601CA3912C}" type="slidenum">
              <a:rPr lang="pl-PL" altLang="pl-PL" smtClean="0"/>
              <a:pPr>
                <a:defRPr/>
              </a:pPr>
              <a:t>6</a:t>
            </a:fld>
            <a:endParaRPr lang="pl-PL" altLang="pl-PL"/>
          </a:p>
        </p:txBody>
      </p:sp>
      <p:sp>
        <p:nvSpPr>
          <p:cNvPr id="6" name="Prostokąt 5"/>
          <p:cNvSpPr/>
          <p:nvPr/>
        </p:nvSpPr>
        <p:spPr>
          <a:xfrm>
            <a:off x="146394" y="4594225"/>
            <a:ext cx="6933802" cy="644525"/>
          </a:xfrm>
          <a:prstGeom prst="rect">
            <a:avLst/>
          </a:prstGeom>
          <a:solidFill>
            <a:srgbClr val="68B1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lvl="0" algn="just"/>
            <a:r>
              <a:rPr lang="pl-PL" sz="14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Uczestnicy</a:t>
            </a:r>
            <a:r>
              <a:rPr lang="pl-PL" sz="1400" dirty="0">
                <a:solidFill>
                  <a:srgbClr val="000000"/>
                </a:solidFill>
              </a:rPr>
              <a:t> </a:t>
            </a:r>
            <a:r>
              <a:rPr lang="pl-PL" sz="1400" b="1" dirty="0">
                <a:solidFill>
                  <a:srgbClr val="FFFFFF"/>
                </a:solidFill>
                <a:ea typeface="ＭＳ Ｐゴシック" panose="020B0600070205080204" pitchFamily="34" charset="-128"/>
              </a:rPr>
              <a:t>rynku gazu mogą również uczestniczyć w obrocie giełdowym za pośrednictwem Domów Maklerskich</a:t>
            </a:r>
          </a:p>
        </p:txBody>
      </p:sp>
      <p:sp>
        <p:nvSpPr>
          <p:cNvPr id="7" name="Text Placeholder 9"/>
          <p:cNvSpPr txBox="1">
            <a:spLocks/>
          </p:cNvSpPr>
          <p:nvPr/>
        </p:nvSpPr>
        <p:spPr bwMode="auto">
          <a:xfrm>
            <a:off x="146394" y="2844315"/>
            <a:ext cx="6819408" cy="16004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>
            <a:lvl1pPr marL="239713" indent="-239713" algn="l" defTabSz="641350" rtl="0" eaLnBrk="0" fontAlgn="base" hangingPunct="0">
              <a:lnSpc>
                <a:spcPct val="120000"/>
              </a:lnSpc>
              <a:spcBef>
                <a:spcPts val="700"/>
              </a:spcBef>
              <a:spcAft>
                <a:spcPct val="0"/>
              </a:spcAft>
              <a:buClr>
                <a:srgbClr val="68B133"/>
              </a:buClr>
              <a:buFont typeface="Symbol" panose="05050102010706020507" pitchFamily="18" charset="2"/>
              <a:buChar char="¨"/>
              <a:defRPr sz="10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9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"/>
              <a:defRPr sz="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"/>
              <a:defRPr sz="843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444625" indent="-160338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76726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858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90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122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just" eaLnBrk="1" hangingPunct="1"/>
            <a:endParaRPr lang="pl-PL" altLang="pl-PL" b="1" dirty="0" smtClean="0">
              <a:solidFill>
                <a:schemeClr val="tx1"/>
              </a:solidFill>
            </a:endParaRPr>
          </a:p>
          <a:p>
            <a:pPr algn="just" eaLnBrk="1" hangingPunct="1"/>
            <a:r>
              <a:rPr lang="pl-PL" altLang="pl-PL" b="1" dirty="0" smtClean="0">
                <a:solidFill>
                  <a:srgbClr val="404040"/>
                </a:solidFill>
              </a:rPr>
              <a:t>Obecnie 67 podmiotów posiada status Członka TGE, m.in.:</a:t>
            </a:r>
          </a:p>
          <a:p>
            <a:pPr marL="280988" lvl="1" indent="0" algn="just" eaLnBrk="1" hangingPunct="1">
              <a:buFont typeface="Wingdings" panose="05000000000000000000" pitchFamily="2" charset="2"/>
              <a:buNone/>
            </a:pPr>
            <a:r>
              <a:rPr lang="pl-PL" altLang="pl-PL" sz="1000" dirty="0" smtClean="0">
                <a:solidFill>
                  <a:schemeClr val="tx2">
                    <a:lumMod val="65000"/>
                    <a:lumOff val="35000"/>
                  </a:schemeClr>
                </a:solidFill>
              </a:rPr>
              <a:t>PGE Polska Grupa Energetyczna S.A., PGNiG S.A., GAZ-SYSTEM S.A., TAURON Polska Energia S.A., ENEA S.A., ENERGA Obrót S.A., PKP Energetyka S.A., RWE Polska S.A., EDF Polska S.A., Vattenfall </a:t>
            </a:r>
            <a:r>
              <a:rPr lang="pl-PL" altLang="pl-PL" sz="1000" dirty="0" err="1" smtClean="0">
                <a:solidFill>
                  <a:schemeClr val="tx2">
                    <a:lumMod val="65000"/>
                    <a:lumOff val="35000"/>
                  </a:schemeClr>
                </a:solidFill>
              </a:rPr>
              <a:t>Energy</a:t>
            </a:r>
            <a:r>
              <a:rPr lang="pl-PL" altLang="pl-PL" sz="1000" dirty="0" smtClean="0">
                <a:solidFill>
                  <a:schemeClr val="tx2">
                    <a:lumMod val="65000"/>
                    <a:lumOff val="35000"/>
                  </a:schemeClr>
                </a:solidFill>
              </a:rPr>
              <a:t> Trading Sp. z o.o., Zespół Elektrowni PAK S.A., Noble Securities S.A., CEZ Towarowy Dom Maklerski Sp. z o.o., PGE Dom Maklerski S.A. </a:t>
            </a:r>
          </a:p>
          <a:p>
            <a:pPr algn="just" eaLnBrk="1" hangingPunct="1"/>
            <a:r>
              <a:rPr lang="pl-PL" altLang="pl-PL" b="1" dirty="0" smtClean="0">
                <a:solidFill>
                  <a:srgbClr val="404040"/>
                </a:solidFill>
              </a:rPr>
              <a:t>Rynek gazu – 21 firm bezpośrednio aktywnych, a łącznie 66 spółek </a:t>
            </a:r>
            <a:endParaRPr lang="pl-PL" altLang="pl-PL" dirty="0" smtClean="0">
              <a:solidFill>
                <a:schemeClr val="tx2">
                  <a:lumMod val="65000"/>
                  <a:lumOff val="35000"/>
                </a:schemeClr>
              </a:solidFill>
            </a:endParaRPr>
          </a:p>
          <a:p>
            <a:pPr algn="just" eaLnBrk="1" hangingPunct="1"/>
            <a:endParaRPr lang="pl-PL" altLang="pl-PL" b="1" dirty="0" smtClean="0">
              <a:solidFill>
                <a:schemeClr val="tx1"/>
              </a:solidFill>
            </a:endParaRPr>
          </a:p>
          <a:p>
            <a:pPr algn="just" eaLnBrk="1" hangingPunct="1"/>
            <a:endParaRPr lang="pl-PL" altLang="pl-PL" dirty="0" smtClean="0"/>
          </a:p>
          <a:p>
            <a:pPr algn="just" eaLnBrk="1" hangingPunct="1"/>
            <a:endParaRPr lang="pl-PL" altLang="pl-PL" dirty="0" smtClean="0"/>
          </a:p>
          <a:p>
            <a:pPr algn="just" eaLnBrk="1" hangingPunct="1"/>
            <a:endParaRPr lang="pl-PL" altLang="pl-PL" b="1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08192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ymbol zastępczy zawartości 1"/>
          <p:cNvSpPr>
            <a:spLocks noGrp="1"/>
          </p:cNvSpPr>
          <p:nvPr>
            <p:ph sz="half" idx="2"/>
          </p:nvPr>
        </p:nvSpPr>
        <p:spPr>
          <a:xfrm>
            <a:off x="205111" y="3165516"/>
            <a:ext cx="3397680" cy="1750972"/>
          </a:xfrm>
        </p:spPr>
        <p:txBody>
          <a:bodyPr/>
          <a:lstStyle/>
          <a:p>
            <a:r>
              <a:rPr lang="pl-PL" sz="900" dirty="0" smtClean="0"/>
              <a:t>Wniosek </a:t>
            </a:r>
            <a:r>
              <a:rPr lang="pl-PL" sz="900" dirty="0"/>
              <a:t>należy złożyć najpóźniej 4 dni przed proponowanym terminem, istnieje możliwość wycofania, najpóźniej 2 dni przed terminem, zaktualizowany o nowy limit ceny – najpóźniej 1 dzień przed terminem</a:t>
            </a:r>
          </a:p>
          <a:p>
            <a:r>
              <a:rPr lang="pl-PL" sz="900" dirty="0" smtClean="0"/>
              <a:t>Uczestnicy </a:t>
            </a:r>
            <a:r>
              <a:rPr lang="pl-PL" sz="900" dirty="0"/>
              <a:t>aukcji mogą składać zlecenia </a:t>
            </a:r>
            <a:r>
              <a:rPr lang="pl-PL" sz="900" dirty="0" smtClean="0"/>
              <a:t>kupna </a:t>
            </a:r>
            <a:r>
              <a:rPr lang="pl-PL" sz="900" dirty="0"/>
              <a:t>lub </a:t>
            </a:r>
            <a:r>
              <a:rPr lang="pl-PL" sz="900" dirty="0" smtClean="0"/>
              <a:t>sprzedaży</a:t>
            </a:r>
            <a:endParaRPr lang="pl-PL" sz="900" dirty="0"/>
          </a:p>
          <a:p>
            <a:r>
              <a:rPr lang="pl-PL" sz="900" dirty="0"/>
              <a:t>W rozstrzygniętej aukcji ceną transakcyjną jest cena podana w zleceniu uczestnika </a:t>
            </a:r>
            <a:r>
              <a:rPr lang="pl-PL" sz="900" dirty="0" smtClean="0"/>
              <a:t>aukcji</a:t>
            </a:r>
            <a:endParaRPr lang="pl-PL" sz="900" dirty="0"/>
          </a:p>
        </p:txBody>
      </p:sp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pl-PL" dirty="0" smtClean="0"/>
              <a:t>Prezentacja rynków TGE </a:t>
            </a:r>
            <a:endParaRPr lang="pl-PL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idx="1"/>
          </p:nvPr>
        </p:nvSpPr>
        <p:spPr>
          <a:xfrm>
            <a:off x="223838" y="1325425"/>
            <a:ext cx="3455120" cy="1405812"/>
          </a:xfrm>
        </p:spPr>
        <p:txBody>
          <a:bodyPr>
            <a:normAutofit/>
          </a:bodyPr>
          <a:lstStyle/>
          <a:p>
            <a:r>
              <a:rPr lang="pl-PL" sz="900" dirty="0"/>
              <a:t>Notowania ciągłe od 8:00 do 14:00 w dni </a:t>
            </a:r>
            <a:r>
              <a:rPr lang="pl-PL" sz="900" dirty="0" smtClean="0"/>
              <a:t>robocze</a:t>
            </a:r>
          </a:p>
          <a:p>
            <a:r>
              <a:rPr lang="pl-PL" sz="900" dirty="0" smtClean="0"/>
              <a:t>Rozliczenie </a:t>
            </a:r>
            <a:r>
              <a:rPr lang="pl-PL" sz="900" dirty="0"/>
              <a:t>następuje poprzez fizyczną dostawę gazu</a:t>
            </a:r>
          </a:p>
          <a:p>
            <a:r>
              <a:rPr lang="pl-PL" sz="900" dirty="0"/>
              <a:t>Na RTT dostępne są instrumenty </a:t>
            </a:r>
            <a:r>
              <a:rPr lang="pl-PL" sz="900" dirty="0" smtClean="0"/>
              <a:t>tygodniowe, miesięczne, kwartalne, roczne oraz sezonowe</a:t>
            </a:r>
            <a:endParaRPr lang="pl-PL" sz="900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>
              <a:defRPr/>
            </a:pPr>
            <a:fld id="{EC6B2BB5-8D46-4711-9307-EDBEAEC73E84}" type="slidenum">
              <a:rPr lang="pl-PL" altLang="pl-PL" smtClean="0"/>
              <a:pPr>
                <a:defRPr/>
              </a:pPr>
              <a:t>7</a:t>
            </a:fld>
            <a:endParaRPr lang="pl-PL" altLang="pl-PL"/>
          </a:p>
        </p:txBody>
      </p:sp>
      <p:sp>
        <p:nvSpPr>
          <p:cNvPr id="6" name="pole tekstowe 5"/>
          <p:cNvSpPr txBox="1"/>
          <p:nvPr/>
        </p:nvSpPr>
        <p:spPr>
          <a:xfrm>
            <a:off x="300789" y="881526"/>
            <a:ext cx="33387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ynek towarowy terminowy</a:t>
            </a:r>
          </a:p>
        </p:txBody>
      </p:sp>
      <p:sp>
        <p:nvSpPr>
          <p:cNvPr id="7" name="pole tekstowe 6"/>
          <p:cNvSpPr txBox="1"/>
          <p:nvPr/>
        </p:nvSpPr>
        <p:spPr>
          <a:xfrm>
            <a:off x="223838" y="2870971"/>
            <a:ext cx="33387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Aukcje gazu</a:t>
            </a:r>
            <a:endParaRPr lang="pl-PL" sz="12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8" name="pole tekstowe 5"/>
          <p:cNvSpPr txBox="1"/>
          <p:nvPr/>
        </p:nvSpPr>
        <p:spPr>
          <a:xfrm>
            <a:off x="3875680" y="2870971"/>
            <a:ext cx="3338763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ynek Dnia Następnego gazu – RDNg</a:t>
            </a:r>
            <a:endParaRPr lang="pl-PL" sz="1200" b="1" dirty="0" smtClean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9" name="pole tekstowe 6"/>
          <p:cNvSpPr txBox="1"/>
          <p:nvPr/>
        </p:nvSpPr>
        <p:spPr>
          <a:xfrm>
            <a:off x="3875680" y="893521"/>
            <a:ext cx="33387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pl-PL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ynek Dnia Bieżącego gazu – </a:t>
            </a:r>
            <a:r>
              <a:rPr lang="pl-PL" sz="12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</a:rPr>
              <a:t>RDBg</a:t>
            </a:r>
            <a:endParaRPr lang="pl-PL" sz="1200" b="1" dirty="0">
              <a:solidFill>
                <a:schemeClr val="tx1">
                  <a:lumMod val="65000"/>
                  <a:lumOff val="35000"/>
                </a:schemeClr>
              </a:solidFill>
              <a:latin typeface="+mn-lt"/>
            </a:endParaRPr>
          </a:p>
        </p:txBody>
      </p:sp>
      <p:sp>
        <p:nvSpPr>
          <p:cNvPr id="10" name="Symbol zastępczy zawartości 3"/>
          <p:cNvSpPr txBox="1">
            <a:spLocks/>
          </p:cNvSpPr>
          <p:nvPr/>
        </p:nvSpPr>
        <p:spPr>
          <a:xfrm>
            <a:off x="3875680" y="3525084"/>
            <a:ext cx="3455120" cy="139140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239713" indent="-239713" algn="l" defTabSz="641350" rtl="0" eaLnBrk="0" fontAlgn="base" hangingPunct="0">
              <a:lnSpc>
                <a:spcPct val="120000"/>
              </a:lnSpc>
              <a:spcBef>
                <a:spcPts val="700"/>
              </a:spcBef>
              <a:spcAft>
                <a:spcPct val="0"/>
              </a:spcAft>
              <a:buClr>
                <a:srgbClr val="68B133"/>
              </a:buClr>
              <a:buFont typeface="Symbol" panose="05050102010706020507" pitchFamily="18" charset="2"/>
              <a:buChar char="¨"/>
              <a:defRPr sz="10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9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"/>
              <a:defRPr sz="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"/>
              <a:defRPr sz="843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444625" indent="-160338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76726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858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90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122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900" dirty="0" smtClean="0"/>
              <a:t>Instrumenty typu GAS_BASE oraz GAS_WEEKEND</a:t>
            </a:r>
          </a:p>
          <a:p>
            <a:r>
              <a:rPr lang="pl-PL" sz="900" dirty="0" smtClean="0"/>
              <a:t>Instrument weekendowy notowany jest przez dwa dni: w czwartek i piątek.</a:t>
            </a:r>
          </a:p>
          <a:p>
            <a:r>
              <a:rPr lang="pl-PL" sz="900" dirty="0" smtClean="0"/>
              <a:t>Rozliczenie następuje poprzez fizyczną dostawę gazu</a:t>
            </a:r>
          </a:p>
          <a:p>
            <a:r>
              <a:rPr lang="pl-PL" sz="900" dirty="0" smtClean="0"/>
              <a:t>Giełda zgłasza OSP transakcje do wykonania </a:t>
            </a:r>
            <a:endParaRPr lang="pl-PL" sz="900" dirty="0"/>
          </a:p>
        </p:txBody>
      </p:sp>
      <p:sp>
        <p:nvSpPr>
          <p:cNvPr id="11" name="Symbol zastępczy zawartości 1"/>
          <p:cNvSpPr txBox="1">
            <a:spLocks/>
          </p:cNvSpPr>
          <p:nvPr/>
        </p:nvSpPr>
        <p:spPr>
          <a:xfrm>
            <a:off x="3941374" y="1346836"/>
            <a:ext cx="3397680" cy="1384401"/>
          </a:xfrm>
          <a:prstGeom prst="rect">
            <a:avLst/>
          </a:prstGeom>
        </p:spPr>
        <p:txBody>
          <a:bodyPr/>
          <a:lstStyle>
            <a:lvl1pPr marL="239713" indent="-239713" algn="l" defTabSz="641350" rtl="0" eaLnBrk="0" fontAlgn="base" hangingPunct="0">
              <a:lnSpc>
                <a:spcPct val="120000"/>
              </a:lnSpc>
              <a:spcBef>
                <a:spcPts val="700"/>
              </a:spcBef>
              <a:spcAft>
                <a:spcPct val="0"/>
              </a:spcAft>
              <a:buClr>
                <a:srgbClr val="68B133"/>
              </a:buClr>
              <a:buFont typeface="Symbol" panose="05050102010706020507" pitchFamily="18" charset="2"/>
              <a:buChar char="¨"/>
              <a:defRPr sz="10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52214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Wingdings" panose="05000000000000000000" pitchFamily="2" charset="2"/>
              <a:buChar char="ü"/>
              <a:defRPr sz="10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2pPr>
            <a:lvl3pPr marL="843465" indent="-200825" algn="l" defTabSz="641350" rtl="0" eaLnBrk="0" fontAlgn="base" hangingPunct="0">
              <a:lnSpc>
                <a:spcPct val="12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"/>
              <a:defRPr sz="8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3pPr>
            <a:lvl4pPr marL="1164786" indent="-200825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Symbol" panose="05050102010706020507" pitchFamily="18" charset="2"/>
              <a:buChar char="¨"/>
              <a:defRPr sz="843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4pPr>
            <a:lvl5pPr marL="1444625" indent="-160338" algn="l" defTabSz="641350" rtl="0" eaLnBrk="0" fontAlgn="base" hangingPunct="0">
              <a:lnSpc>
                <a:spcPct val="90000"/>
              </a:lnSpc>
              <a:spcBef>
                <a:spcPts val="35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 sz="1200" kern="1200">
                <a:solidFill>
                  <a:srgbClr val="000000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5pPr>
            <a:lvl6pPr marL="176726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08858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40990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731221" indent="-160660" algn="l" defTabSz="642640" rtl="0" eaLnBrk="1" latinLnBrk="0" hangingPunct="1">
              <a:lnSpc>
                <a:spcPct val="90000"/>
              </a:lnSpc>
              <a:spcBef>
                <a:spcPts val="351"/>
              </a:spcBef>
              <a:buFont typeface="Arial" panose="020B0604020202020204" pitchFamily="34" charset="0"/>
              <a:buChar char="•"/>
              <a:defRPr sz="1265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pl-PL" sz="900" dirty="0" smtClean="0"/>
              <a:t>Obrót prowadzony w dniu dostawy w okresie od 8:00 do 15:30</a:t>
            </a:r>
          </a:p>
          <a:p>
            <a:r>
              <a:rPr lang="pl-PL" sz="900" dirty="0" smtClean="0"/>
              <a:t>Notowania prowadzone każdego dnia w systemie notowań ciągłych, prowadzone na 24 instrumentach godzinowych. </a:t>
            </a:r>
          </a:p>
          <a:p>
            <a:r>
              <a:rPr lang="pl-PL" sz="900" dirty="0" smtClean="0"/>
              <a:t>Informacje o zawartych transakcjach zgłaszane są co godzinę (</a:t>
            </a:r>
            <a:r>
              <a:rPr lang="pl-PL" sz="900" dirty="0" err="1" smtClean="0"/>
              <a:t>renominacje</a:t>
            </a:r>
            <a:r>
              <a:rPr lang="pl-PL" sz="900" dirty="0" smtClean="0"/>
              <a:t>) do   GAZ-SYSTEM</a:t>
            </a:r>
          </a:p>
        </p:txBody>
      </p:sp>
    </p:spTree>
    <p:extLst>
      <p:ext uri="{BB962C8B-B14F-4D97-AF65-F5344CB8AC3E}">
        <p14:creationId xmlns:p14="http://schemas.microsoft.com/office/powerpoint/2010/main" val="43244914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2946" name="Picture 2" descr="bull2016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aturation sat="2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898760" y="740850"/>
            <a:ext cx="3660353" cy="4586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z ziemny: </a:t>
            </a:r>
            <a:r>
              <a:rPr lang="pl-PL" sz="1600" dirty="0"/>
              <a:t>g</a:t>
            </a:r>
            <a:r>
              <a:rPr lang="pl-PL" sz="1600" dirty="0" smtClean="0"/>
              <a:t>iełda </a:t>
            </a:r>
            <a:r>
              <a:rPr lang="pl-PL" sz="1600" dirty="0"/>
              <a:t>czy inne platformy?</a:t>
            </a:r>
            <a:endParaRPr lang="en-GB" sz="1600" dirty="0"/>
          </a:p>
        </p:txBody>
      </p:sp>
      <p:sp>
        <p:nvSpPr>
          <p:cNvPr id="4" name="Symbol zastępczy zawartości 3"/>
          <p:cNvSpPr>
            <a:spLocks noGrp="1"/>
          </p:cNvSpPr>
          <p:nvPr>
            <p:ph idx="1"/>
          </p:nvPr>
        </p:nvSpPr>
        <p:spPr>
          <a:xfrm>
            <a:off x="93332" y="740850"/>
            <a:ext cx="3606061" cy="445291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pl-PL" b="1" u="sng" dirty="0" smtClean="0"/>
              <a:t>Kwestia nr 1: </a:t>
            </a:r>
            <a:r>
              <a:rPr lang="pl-PL" b="1" u="sng" dirty="0"/>
              <a:t>t</a:t>
            </a:r>
            <a:r>
              <a:rPr lang="pl-PL" b="1" u="sng" dirty="0" smtClean="0"/>
              <a:t>ransparentność </a:t>
            </a:r>
            <a:r>
              <a:rPr lang="pl-PL" b="1" u="sng" dirty="0"/>
              <a:t>i niedyskryminacyjny dostęp </a:t>
            </a:r>
            <a:endParaRPr lang="pl-PL" b="1" u="sng" dirty="0" smtClean="0"/>
          </a:p>
          <a:p>
            <a:pPr marL="0" indent="0">
              <a:buNone/>
            </a:pPr>
            <a:r>
              <a:rPr lang="pl-PL" b="1" dirty="0" smtClean="0"/>
              <a:t>Giełda</a:t>
            </a:r>
            <a:endParaRPr lang="en-GB" b="1" dirty="0"/>
          </a:p>
          <a:p>
            <a:r>
              <a:rPr lang="pl-PL" dirty="0" smtClean="0"/>
              <a:t>Najlepiej ocenianym </a:t>
            </a:r>
            <a:r>
              <a:rPr lang="pl-PL" dirty="0"/>
              <a:t>przez </a:t>
            </a:r>
            <a:r>
              <a:rPr lang="pl-PL" dirty="0" smtClean="0"/>
              <a:t>regulatorów i sprawdzonym  narzędziem </a:t>
            </a:r>
            <a:r>
              <a:rPr lang="pl-PL" dirty="0"/>
              <a:t>do budowy konkurencyjnego rynku jest </a:t>
            </a:r>
            <a:r>
              <a:rPr lang="pl-PL" b="1" dirty="0"/>
              <a:t>giełda</a:t>
            </a:r>
            <a:r>
              <a:rPr lang="pl-PL" dirty="0"/>
              <a:t>, uznana za najbardziej </a:t>
            </a:r>
            <a:r>
              <a:rPr lang="pl-PL" b="1" dirty="0"/>
              <a:t>transparentne i niedyskryminujące miejsce obrotu gazem</a:t>
            </a:r>
            <a:r>
              <a:rPr lang="pl-PL" dirty="0"/>
              <a:t>. </a:t>
            </a:r>
            <a:endParaRPr lang="pl-PL" dirty="0" smtClean="0"/>
          </a:p>
          <a:p>
            <a:pPr marL="0" indent="0">
              <a:buNone/>
            </a:pPr>
            <a:r>
              <a:rPr lang="pl-PL" b="1" dirty="0" smtClean="0"/>
              <a:t>Platformy</a:t>
            </a:r>
            <a:endParaRPr lang="en-GB" b="1" dirty="0"/>
          </a:p>
          <a:p>
            <a:r>
              <a:rPr lang="pl-PL" dirty="0" smtClean="0"/>
              <a:t>Dostęp </a:t>
            </a:r>
            <a:r>
              <a:rPr lang="pl-PL" dirty="0"/>
              <a:t>do </a:t>
            </a:r>
            <a:r>
              <a:rPr lang="pl-PL" dirty="0" smtClean="0"/>
              <a:t>platform OTC, również </a:t>
            </a:r>
            <a:r>
              <a:rPr lang="pl-PL" dirty="0"/>
              <a:t>jest transparentny, jednak </a:t>
            </a:r>
            <a:r>
              <a:rPr lang="pl-PL" b="1" dirty="0"/>
              <a:t>umowa z platformą nie daje możliwości zawarcia transakcji.</a:t>
            </a:r>
            <a:r>
              <a:rPr lang="pl-PL" dirty="0"/>
              <a:t> Uczestnik rynku, który podpisał umowę z platformą aby zawrzeć transakcję zakupu/sprzedaży gazu musi podpisać umowę </a:t>
            </a:r>
            <a:r>
              <a:rPr lang="pl-PL" dirty="0" smtClean="0"/>
              <a:t>bilateralną </a:t>
            </a:r>
            <a:r>
              <a:rPr lang="pl-PL" dirty="0"/>
              <a:t>z </a:t>
            </a:r>
            <a:r>
              <a:rPr lang="pl-PL" dirty="0" smtClean="0"/>
              <a:t>kontrahentem</a:t>
            </a:r>
            <a:endParaRPr lang="pl-PL" dirty="0"/>
          </a:p>
          <a:p>
            <a:r>
              <a:rPr lang="pl-PL" dirty="0" smtClean="0"/>
              <a:t>Umowy </a:t>
            </a:r>
            <a:r>
              <a:rPr lang="pl-PL" dirty="0"/>
              <a:t>bilateralne </a:t>
            </a:r>
            <a:r>
              <a:rPr lang="pl-PL" b="1" dirty="0"/>
              <a:t>nie są transparentne</a:t>
            </a:r>
            <a:r>
              <a:rPr lang="pl-PL" dirty="0"/>
              <a:t> i strony nie maja obowiązku ich zawarcia więc istnieje duże </a:t>
            </a:r>
            <a:r>
              <a:rPr lang="pl-PL" b="1" dirty="0"/>
              <a:t>ryzyko</a:t>
            </a:r>
            <a:r>
              <a:rPr lang="pl-PL" dirty="0"/>
              <a:t> iż mogą być traktowane w sposób </a:t>
            </a:r>
            <a:r>
              <a:rPr lang="pl-PL" b="1" dirty="0"/>
              <a:t>dyskryminacyjny</a:t>
            </a:r>
            <a:r>
              <a:rPr lang="pl-PL" dirty="0"/>
              <a:t> przez pozostałych uczestników rynku na platformie OTC. </a:t>
            </a:r>
            <a:endParaRPr lang="en-GB" dirty="0"/>
          </a:p>
          <a:p>
            <a:endParaRPr lang="en-GB" sz="1050" dirty="0"/>
          </a:p>
        </p:txBody>
      </p:sp>
    </p:spTree>
    <p:extLst>
      <p:ext uri="{BB962C8B-B14F-4D97-AF65-F5344CB8AC3E}">
        <p14:creationId xmlns:p14="http://schemas.microsoft.com/office/powerpoint/2010/main" val="12470639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ytuł 2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pl-PL" sz="1600" dirty="0" smtClean="0">
                <a:solidFill>
                  <a:schemeClr val="tx1">
                    <a:lumMod val="65000"/>
                    <a:lumOff val="35000"/>
                  </a:schemeClr>
                </a:solidFill>
              </a:rPr>
              <a:t>Gaz ziemny: </a:t>
            </a:r>
            <a:r>
              <a:rPr lang="pl-PL" sz="1600" dirty="0"/>
              <a:t>g</a:t>
            </a:r>
            <a:r>
              <a:rPr lang="pl-PL" sz="1600" dirty="0" smtClean="0"/>
              <a:t>iełda </a:t>
            </a:r>
            <a:r>
              <a:rPr lang="pl-PL" sz="1600" dirty="0"/>
              <a:t>czy inne platformy?</a:t>
            </a:r>
            <a:endParaRPr lang="en-GB" sz="1600" dirty="0"/>
          </a:p>
        </p:txBody>
      </p:sp>
      <p:sp>
        <p:nvSpPr>
          <p:cNvPr id="5" name="Symbol zastępczy numeru slajdu 4"/>
          <p:cNvSpPr>
            <a:spLocks noGrp="1"/>
          </p:cNvSpPr>
          <p:nvPr>
            <p:ph type="sldNum" sz="quarter" idx="4294967295"/>
          </p:nvPr>
        </p:nvSpPr>
        <p:spPr>
          <a:xfrm>
            <a:off x="5858101" y="4915943"/>
            <a:ext cx="1701012" cy="277819"/>
          </a:xfrm>
          <a:prstGeom prst="rect">
            <a:avLst/>
          </a:prstGeom>
        </p:spPr>
        <p:txBody>
          <a:bodyPr/>
          <a:lstStyle/>
          <a:p>
            <a:fld id="{D90C6C7F-80E3-432C-B9CD-878FBCD4AA89}" type="slidenum">
              <a:rPr lang="pl-PL" smtClean="0"/>
              <a:pPr/>
              <a:t>9</a:t>
            </a:fld>
            <a:endParaRPr lang="pl-PL" dirty="0"/>
          </a:p>
        </p:txBody>
      </p:sp>
      <p:pic>
        <p:nvPicPr>
          <p:cNvPr id="2" name="Obraz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740849"/>
            <a:ext cx="3441032" cy="4597561"/>
          </a:xfrm>
          <a:prstGeom prst="rect">
            <a:avLst/>
          </a:prstGeom>
        </p:spPr>
      </p:pic>
      <p:sp>
        <p:nvSpPr>
          <p:cNvPr id="4" name="Symbol zastępczy zawartości 3"/>
          <p:cNvSpPr>
            <a:spLocks noGrp="1"/>
          </p:cNvSpPr>
          <p:nvPr>
            <p:ph idx="1"/>
          </p:nvPr>
        </p:nvSpPr>
        <p:spPr>
          <a:xfrm>
            <a:off x="3645567" y="942799"/>
            <a:ext cx="3699777" cy="3897274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pl-PL" sz="1100" u="sng" dirty="0" smtClean="0"/>
              <a:t>Kwestia nr 2: zabezpieczenie transakcji</a:t>
            </a:r>
          </a:p>
          <a:p>
            <a:pPr marL="0" indent="0">
              <a:buNone/>
            </a:pPr>
            <a:r>
              <a:rPr lang="pl-PL" sz="1100" b="1" dirty="0" smtClean="0"/>
              <a:t>Giełda:</a:t>
            </a:r>
          </a:p>
          <a:p>
            <a:r>
              <a:rPr lang="pl-PL" sz="1100" dirty="0" smtClean="0"/>
              <a:t>Transakcje </a:t>
            </a:r>
            <a:r>
              <a:rPr lang="pl-PL" sz="1100" dirty="0"/>
              <a:t>giełdowe są zabezpieczane przez izbę rozliczeniową (w przypadku TGE jest nią </a:t>
            </a:r>
            <a:r>
              <a:rPr lang="pl-PL" sz="1100" dirty="0" err="1"/>
              <a:t>IRGiT</a:t>
            </a:r>
            <a:r>
              <a:rPr lang="pl-PL" sz="1100" dirty="0"/>
              <a:t>), która rozlicza zawarte transakcje </a:t>
            </a:r>
            <a:r>
              <a:rPr lang="pl-PL" sz="1100" dirty="0" smtClean="0"/>
              <a:t/>
            </a:r>
            <a:br>
              <a:rPr lang="pl-PL" sz="1100" dirty="0" smtClean="0"/>
            </a:br>
            <a:r>
              <a:rPr lang="pl-PL" sz="1100" dirty="0" smtClean="0"/>
              <a:t>i </a:t>
            </a:r>
            <a:r>
              <a:rPr lang="pl-PL" sz="1100" dirty="0"/>
              <a:t>gwarantuje powstałe w ich wyniku zobowiązania. </a:t>
            </a:r>
            <a:r>
              <a:rPr lang="pl-PL" sz="1100" b="1" dirty="0"/>
              <a:t>W przypadku upadłości kupującego, izba wypłaca należność sprzedawcy. </a:t>
            </a:r>
            <a:endParaRPr lang="pl-PL" sz="1100" b="1" dirty="0" smtClean="0"/>
          </a:p>
          <a:p>
            <a:pPr marL="0" indent="0">
              <a:buNone/>
            </a:pPr>
            <a:r>
              <a:rPr lang="pl-PL" sz="1100" b="1" dirty="0" smtClean="0"/>
              <a:t>Platformy:</a:t>
            </a:r>
            <a:endParaRPr lang="en-GB" sz="1100" b="1" dirty="0"/>
          </a:p>
          <a:p>
            <a:r>
              <a:rPr lang="pl-PL" sz="1100" dirty="0" smtClean="0"/>
              <a:t>PW </a:t>
            </a:r>
            <a:r>
              <a:rPr lang="pl-PL" sz="1100" dirty="0"/>
              <a:t>przypadku transakcji zawieranych na platformach brokerskich (OTC) </a:t>
            </a:r>
            <a:r>
              <a:rPr lang="pl-PL" sz="1100" b="1" dirty="0"/>
              <a:t>ryzyko określane jest warunkami </a:t>
            </a:r>
            <a:r>
              <a:rPr lang="pl-PL" sz="1100" b="1" dirty="0" smtClean="0"/>
              <a:t>umowy. </a:t>
            </a:r>
            <a:r>
              <a:rPr lang="pl-PL" sz="1100" dirty="0" smtClean="0"/>
              <a:t>Platformy </a:t>
            </a:r>
            <a:r>
              <a:rPr lang="pl-PL" sz="1100" dirty="0"/>
              <a:t>brokerskie reklamują się niższymi kosztami zawierania transakcji, które </a:t>
            </a:r>
            <a:r>
              <a:rPr lang="pl-PL" sz="1100" b="1" dirty="0"/>
              <a:t>nie zawierają kosztów ich </a:t>
            </a:r>
            <a:r>
              <a:rPr lang="pl-PL" sz="1100" b="1" dirty="0" smtClean="0"/>
              <a:t>zabezpieczenia. Koszt ryzyka transakcji ponosi klient platformy</a:t>
            </a:r>
            <a:r>
              <a:rPr lang="pl-PL" sz="1100" b="1" dirty="0"/>
              <a:t>.</a:t>
            </a:r>
            <a:r>
              <a:rPr lang="pl-PL" sz="1100" dirty="0"/>
              <a:t> </a:t>
            </a:r>
            <a:endParaRPr lang="en-GB" sz="1100" dirty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35660155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6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#m/%#d/%Y&lt;/m_strFormatTime&gt;&lt;/m_precDefaultDate&gt;&lt;m_precDefaultYear/&gt;&lt;m_precDefaultQuarter/&gt;&lt;m_precDefaultMonth/&gt;&lt;m_precDefaultWeek/&gt;&lt;m_precDefaultDay/&gt;&lt;m_mruColor&gt;&lt;m_vecMRU length=&quot;15&quot;&gt;&lt;elem m_fUsage=&quot;1.77176548467220000000E+000&quot;&gt;&lt;m_msothmcolidx val=&quot;0&quot;/&gt;&lt;m_rgb r=&quot;64&quot; g=&quot;65&quot; b=&quot;67&quot;/&gt;&lt;m_ppcolschidx tagver0=&quot;23004&quot; tagname0=&quot;m_ppcolschidxUNRECOGNIZED&quot; val=&quot;0&quot;/&gt;&lt;m_nBrightness val=&quot;0&quot;/&gt;&lt;/elem&gt;&lt;elem m_fUsage=&quot;1.26364905412675330000E+000&quot;&gt;&lt;m_msothmcolidx val=&quot;0&quot;/&gt;&lt;m_rgb r=&quot;0&quot; g=&quot;4f&quot; b=&quot;92&quot;/&gt;&lt;m_ppcolschidx tagver0=&quot;23004&quot; tagname0=&quot;m_ppcolschidxUNRECOGNIZED&quot; val=&quot;0&quot;/&gt;&lt;m_nBrightness val=&quot;0&quot;/&gt;&lt;/elem&gt;&lt;elem m_fUsage=&quot;1.05158149939260890000E+000&quot;&gt;&lt;m_msothmcolidx val=&quot;0&quot;/&gt;&lt;m_rgb r=&quot;8f&quot; g=&quot;aa&quot; b=&quot;dc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bd&quot; g=&quot;d6&quot; b=&quot;7f&quot;/&gt;&lt;m_ppcolschidx tagver0=&quot;23004&quot; tagname0=&quot;m_ppcolschidxUNRECOGNIZED&quot; val=&quot;0&quot;/&gt;&lt;m_nBrightness val=&quot;0&quot;/&gt;&lt;/elem&gt;&lt;elem m_fUsage=&quot;9.00000000000000020000E-001&quot;&gt;&lt;m_msothmcolidx val=&quot;0&quot;/&gt;&lt;m_rgb r=&quot;3a&quot; g=&quot;aa&quot; b=&quot;35&quot;/&gt;&lt;m_ppcolschidx tagver0=&quot;23004&quot; tagname0=&quot;m_ppcolschidxUNRECOGNIZED&quot; val=&quot;0&quot;/&gt;&lt;m_nBrightness val=&quot;0&quot;/&gt;&lt;/elem&gt;&lt;elem m_fUsage=&quot;8.68170930863834460000E-001&quot;&gt;&lt;m_msothmcolidx val=&quot;0&quot;/&gt;&lt;m_rgb r=&quot;b4&quot; g=&quot;c7&quot; b=&quot;e7&quot;/&gt;&lt;m_ppcolschidx tagver0=&quot;23004&quot; tagname0=&quot;m_ppcolschidxUNRECOGNIZED&quot; val=&quot;0&quot;/&gt;&lt;m_nBrightness val=&quot;0&quot;/&gt;&lt;/elem&gt;&lt;elem m_fUsage=&quot;8.66553700110457740000E-001&quot;&gt;&lt;m_msothmcolidx val=&quot;0&quot;/&gt;&lt;m_rgb r=&quot;86&quot; g=&quot;bc&quot; b=&quot;25&quot;/&gt;&lt;m_ppcolschidx tagver0=&quot;23004&quot; tagname0=&quot;m_ppcolschidxUNRECOGNIZED&quot; val=&quot;0&quot;/&gt;&lt;m_nBrightness val=&quot;0&quot;/&gt;&lt;/elem&gt;&lt;elem m_fUsage=&quot;6.69850025481000140000E-001&quot;&gt;&lt;m_msothmcolidx val=&quot;0&quot;/&gt;&lt;m_rgb r=&quot;f2&quot; g=&quot;f2&quot; b=&quot;f2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da&quot; g=&quot;e3&quot; b=&quot;f3&quot;/&gt;&lt;m_ppcolschidx tagver0=&quot;23004&quot; tagname0=&quot;m_ppcolschidxUNRECOGNIZED&quot; val=&quot;0&quot;/&gt;&lt;m_nBrightness val=&quot;0&quot;/&gt;&lt;/elem&gt;&lt;elem m_fUsage=&quot;4.56840152963198080000E-001&quot;&gt;&lt;m_msothmcolidx val=&quot;0&quot;/&gt;&lt;m_rgb r=&quot;aa&quot; g=&quot;aa&quot; b=&quot;a9&quot;/&gt;&lt;m_ppcolschidx tagver0=&quot;23004&quot; tagname0=&quot;m_ppcolschidxUNRECOGNIZED&quot; val=&quot;0&quot;/&gt;&lt;m_nBrightness val=&quot;0&quot;/&gt;&lt;/elem&gt;&lt;elem m_fUsage=&quot;4.28824173012842810000E-001&quot;&gt;&lt;m_msothmcolidx val=&quot;0&quot;/&gt;&lt;m_rgb r=&quot;d9&quot; g=&quot;d9&quot; b=&quot;d9&quot;/&gt;&lt;m_ppcolschidx tagver0=&quot;23004&quot; tagname0=&quot;m_ppcolschidxUNRECOGNIZED&quot; val=&quot;0&quot;/&gt;&lt;m_nBrightness val=&quot;0&quot;/&gt;&lt;/elem&gt;&lt;elem m_fUsage=&quot;1.35085171767299280000E-001&quot;&gt;&lt;m_msothmcolidx val=&quot;0&quot;/&gt;&lt;m_rgb r=&quot;b6&quot; g=&quot;b8&quot; b=&quot;c2&quot;/&gt;&lt;m_ppcolschidx tagver0=&quot;23004&quot; tagname0=&quot;m_ppcolschidxUNRECOGNIZED&quot; val=&quot;0&quot;/&gt;&lt;m_nBrightness val=&quot;0&quot;/&gt;&lt;/elem&gt;&lt;elem m_fUsage=&quot;7.87672700505848840000E-002&quot;&gt;&lt;m_msothmcolidx val=&quot;0&quot;/&gt;&lt;m_rgb r=&quot;a5&quot; g=&quot;e&quot; b=&quot;30&quot;/&gt;&lt;m_ppcolschidx tagver0=&quot;23004&quot; tagname0=&quot;m_ppcolschidxUNRECOGNIZED&quot; val=&quot;0&quot;/&gt;&lt;m_nBrightness val=&quot;0&quot;/&gt;&lt;/elem&gt;&lt;elem m_fUsage=&quot;3.03823693256592210000E-002&quot;&gt;&lt;m_msothmcolidx val=&quot;0&quot;/&gt;&lt;m_rgb r=&quot;0&quot; g=&quot;4a&quot; b=&quot;8b&quot;/&gt;&lt;m_ppcolschidx tagver0=&quot;23004&quot; tagname0=&quot;m_ppcolschidxUNRECOGNIZED&quot; val=&quot;0&quot;/&gt;&lt;m_nBrightness val=&quot;0&quot;/&gt;&lt;/elem&gt;&lt;elem m_fUsage=&quot;2.20757472849078090000E-004&quot;&gt;&lt;m_msothmcolidx val=&quot;0&quot;/&gt;&lt;m_rgb r=&quot;0&quot; g=&quot;90&quot; b=&quot;d5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XoyyQFk6ROBRwI9.Plw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pGejFOECc0CCfbFNJ9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__PART_0" val="eyIkaWQiOiIxIiwiQ3VsdHVyZUluZm9OYW1lIjoiZW4tVVMiLCJTdHlsZU5hbWUiOiJSb2FkbWFwIiwiSXNUZW1wbGF0ZSI6dHJ1ZSwiVmVyc2lvbiI6eyIkaWQiOiIyIiwiVmVyc2lvbiI6IjMuMC4xIiwiT3JpZ2luYWxBc3NlbWJseVZlcnNpb24iOiIxLjAwLjAwLjAwIiwiRWRpdGlvbiI6IlBsdXMiLCJJc1BsdXNFZGl0aW9uIjp0cnVlfSwiRWZmZWN0IjoxLCJTdHlsZSI6eyIkaWQiOiIzIiwiVGltZWJhbmRTdHlsZSI6eyIkaWQiOiI0IiwiU2NhbGVNYXJraW5nIjowLCJTaGFwZSI6MTMsIlNoYXBlU3R5bGUiOnsiJGlkIjoiNSIsIk1hcmdpbiI6eyIkaWQiOiI2IiwiVG9wIjowLCJMZWZ0IjoxMCwiUmlnaHQiOjEwLCJCb3R0b20iOjB9LCJQYWRkaW5nIjp7IiRpZCI6IjciLCJUb3AiOjMsIkxlZnQiOjEzLCJSaWdodCI6MTMsIkJvdHRvbSI6M30sIkJhY2tncm91bmQiOnsiJGlkIjoiOCIsIkNvbG9yIjp7IiRpZCI6IjkiLCJBIjoyNTUsIlIiOjY4LCJHIjo4NCwiQiI6MTA2fX0sIklzVmlzaWJsZSI6dHJ1ZSwiV2lkdGgiOjg1OC4wLCJIZWlnaHQiOjMwLjAsIkJvcmRlclN0eWxlIjp7IiRpZCI6IjEwIiwiTGluZUNvbG9yIjp7IiRpZCI6IjExIiwiJHR5cGUiOiJOTFJFLkNvbW1vbi5Eb20uU29saWRDb2xvckJydXNoLCBOTFJFLkNvbW1vbiIsIkNvbG9yIjp7IiRpZCI6IjEyIiwiQSI6MjU1LCJSIjoyNTUsIkciOjAsIkIiOjB9fSwiTGluZVdlaWdodCI6MC4wLCJMaW5lVHlwZSI6MCwiUGFyZW50U3R5bGUiOm51bGx9LCJQYXJlbnRTdHlsZSI6bnVsbH0sIlJpZ2h0RW5kQ2Fwc1N0eWxlIjp7IiRpZCI6IjEzIiwiRm9udFNldHRpbmdzIjp7IiRpZCI6IjE0IiwiRm9udFNpemUiOjE4LCJGb250TmFtZSI6IkNvcmJlbCIsIklzQm9sZCI6ZmFsc2UsIklzSXRhbGljIjpmYWxzZSwiSXNVbmRlcmxpbmVkIjpmYWxzZSwiUGFyZW50U3R5bGUiOm51bGx9LCJBdXRvU2l6ZSI6MCwiRm9yZWdyb3VuZCI6eyIkaWQiOiIxNSIsIkNvbG9yIjp7IiRpZCI6IjE2IiwiQSI6MjU1LCJSIjoxOTIsIkciOjgwLCJCIjo3N319LCJNYXhXaWR0aCI6IkluZmluaXR5IiwiTWF4SGVpZ2h0IjoiSW5maW5pdHkiLCJTbWFydEZvcmVncm91bmRJc0FjdGl2ZSI6ZmFsc2UsIkhvcml6b250YWxBbGlnbm1lbnQiOjAsIlZlcnRpY2FsQWxpZ25tZW50IjowLCJTbWFydEZvcmVncm91bmQiOm51bGwsIk1hcmdpbiI6eyIkaWQiOiIxNyIsIlRvcCI6MCwiTGVmdCI6MCwiUmlnaHQiOjIwLCJCb3R0b20iOjB9LCJQYWRkaW5nIjp7IiRpZCI6IjE4IiwiVG9wIjowLCJMZWZ0IjowLCJSaWdodCI6MCwiQm90dG9tIjowfSwiQmFja2dyb3VuZCI6eyIkaWQiOiIxOSIsIkNvbG9yIjp7IiRpZCI6IjIwIiwiQSI6ODksIlIiOjAsIkciOjAsIkIiOjB9fSwiSXNWaXNpYmxlIjp0cnVlLCJXaWR0aCI6MC4wLCJIZWlnaHQiOjAuMCwiQm9yZGVyU3R5bGUiOm51bGwsIlBhcmVudFN0eWxlIjpudWxsfSwiTGVmdEVuZENhcHNTdHlsZSI6eyIkaWQiOiIyMSIsIkZvbnRTZXR0aW5ncyI6eyIkaWQiOiIyMiIsIkZvbnRTaXplIjoxOCwiRm9udE5hbWUiOiJDb3JiZWwiLCJJc0JvbGQiOmZhbHNlLCJJc0l0YWxpYyI6ZmFsc2UsIklzVW5kZXJsaW5lZCI6ZmFsc2UsIlBhcmVudFN0eWxlIjpudWxsfSwiQXV0b1NpemUiOjAsIkZvcmVncm91bmQiOnsiJGlkIjoiMjMiLCJDb2xvciI6eyIkaWQiOiIyNCIsIkEiOjI1NSwiUiI6MTkyLCJHIjo4MCwiQiI6Nzd9fSwiTWF4V2lkdGgiOiJJbmZpbml0eSIsIk1heEhlaWdodCI6IkluZmluaXR5IiwiU21hcnRGb3JlZ3JvdW5kSXNBY3RpdmUiOmZhbHNlLCJIb3Jpem9udGFsQWxpZ25tZW50IjowLCJWZXJ0aWNhbEFsaWdubWVudCI6MCwiU21hcnRGb3JlZ3JvdW5kIjpudWxsLCJNYXJnaW4iOnsiJGlkIjoiMjUiLCJUb3AiOjAsIkxlZnQiOjIwLCJSaWdodCI6MCwiQm90dG9tIjowfSwiUGFkZGluZyI6eyIkaWQiOiIyNiIsIlRvcCI6MCwiTGVmdCI6MCwiUmlnaHQiOjAsIkJvdHRvbSI6MH0sIkJhY2tncm91bmQiOnsiJGlkIjoiMjciLCJDb2xvciI6eyIkcmVmIjoiMjAifX0sIklzVmlzaWJsZSI6dHJ1ZSwiV2lkdGgiOjAuMCwiSGVpZ2h0IjowLjAsIkJvcmRlclN0eWxlIjpudWxsLCJQYXJlbnRTdHlsZSI6bnVsbH0sIlRvZGF5VGV4dFN0eWxlIjp7IiRpZCI6IjI4IiwiRm9udFNldHRpbmdzIjp7IiRpZCI6IjI5IiwiRm9udFNpemUiOjgsIkZvbnROYW1lIjoiQ2FsaWJyaSIsIklzQm9sZCI6ZmFsc2UsIklzSXRhbGljIjpmYWxzZSwiSXNVbmRlcmxpbmVkIjpmYWxzZSwiUGFyZW50U3R5bGUiOm51bGx9LCJBdXRvU2l6ZSI6MCwiRm9yZWdyb3VuZCI6eyIkaWQiOiIzMCIsIkNvbG9yIjp7IiRpZCI6IjMxIiwiQSI6MjU1LCJSIjowLCJHIjowLCJCIjowfX0sIk1heFdpZHRoIjoyMDAuMCwiTWF4SGVpZ2h0IjoiSW5maW5pdHkiLCJTbWFydEZvcmVncm91bmRJc0FjdGl2ZSI6ZmFsc2UsIkhvcml6b250YWxBbGlnbm1lbnQiOjAsIlZlcnRpY2FsQWxpZ25tZW50IjowLCJTbWFydEZvcmVncm91bmQiOm51bGwsIk1hcmdpbiI6eyIkaWQiOiIzMiIsIlRvcCI6MCwiTGVmdCI6MCwiUmlnaHQiOjAsIkJvdHRvbSI6MH0sIlBhZGRpbmciOnsiJGlkIjoiMzMiLCJUb3AiOjAsIkxlZnQiOjAsIlJpZ2h0IjowLCJCb3R0b20iOjB9LCJCYWNrZ3JvdW5kIjp7IiRpZCI6IjM0IiwiQ29sb3IiOnsiJHJlZiI6IjIwIn19LCJJc1Zpc2libGUiOmZhbHNlLCJXaWR0aCI6MC4wLCJIZWlnaHQiOjAuMCwiQm9yZGVyU3R5bGUiOm51bGwsIlBhcmVudFN0eWxlIjpudWxsfSwiVG9kYXlNYXJrZXJTdHlsZSI6eyIkaWQiOiIzNSIsIk1hcmdpbiI6eyIkaWQiOiIzNiIsIlRvcCI6MCwiTGVmdCI6MCwiUmlnaHQiOjAsIkJvdHRvbSI6MH0sIlBhZGRpbmciOnsiJGlkIjoiMzciLCJUb3AiOjAsIkxlZnQiOjAsIlJpZ2h0IjowLCJCb3R0b20iOjB9LCJCYWNrZ3JvdW5kIjp7IiRpZCI6IjM4IiwiQ29sb3IiOnsiJGlkIjoiMzkiLCJBIjoyNTUsIlIiOjI1NSwiRyI6MCwiQiI6MH19LCJJc1Zpc2libGUiOnRydWUsIldpZHRoIjowLjAsIkhlaWdodCI6MC4wLCJCb3JkZXJTdHlsZSI6bnVsbCwiUGFyZW50U3R5bGUiOm51bGx9LCJTY2FsZVN0eWxlIjp7IiRpZCI6IjQwIiwiU2hvd1NlZ21lbnRTZXBhcmF0b3JzIjp0cnVlLCJTZWdtZW50U2VwYXJhdG9yT3BhY2l0eSI6MzAsIkZvbnRTZXR0aW5ncyI6eyIkaWQiOiI0MSIsIkZvbnRTaXplIjoxMiwiRm9udE5hbWUiOiJDYWxpYnJpIiwiSXNCb2xkIjpmYWxzZSwiSXNJdGFsaWMiOmZhbHNlLCJJc1VuZGVybGluZWQiOmZhbHNlLCJQYXJlbnRTdHlsZSI6bnVsbH0sIkF1dG9TaXplIjowLCJGb3JlZ3JvdW5kIjp7IiRpZCI6IjQyIiwiQ29sb3IiOnsiJGlkIjoiNDMiLCJBIjoyNTUsIlIiOjIzMSwiRyI6MjMwLCJCIjoyMzB9fSwiTWF4V2lkdGgiOjIwMC4wLCJNYXhIZWlnaHQiOiJJbmZpbml0eSIsIlNtYXJ0Rm9yZWdyb3VuZElzQWN0aXZlIjpmYWxzZSwiSG9yaXpvbnRhbEFsaWdubWVudCI6MCwiVmVydGljYWxBbGlnbm1lbnQiOjEsIlNtYXJ0Rm9yZWdyb3VuZCI6bnVsbCwiTWFyZ2luIjp7IiRpZCI6IjQ0IiwiVG9wIjowLCJMZWZ0Ijo1LCJSaWdodCI6MCwiQm90dG9tIjowfSwiUGFkZGluZyI6eyIkaWQiOiI0NSIsIlRvcCI6MCwiTGVmdCI6MCwiUmlnaHQiOjAsIkJvdHRvbSI6MH0sIkJhY2tncm91bmQiOnsiJGlkIjoiNDYiLCJDb2xvciI6eyIkcmVmIjoiMjAifX0sIklzVmlzaWJsZSI6dHJ1ZSwiV2lkdGgiOjAuMCwiSGVpZ2h0IjowLjAsIkJvcmRlclN0eWxlIjpudWxsLCJQYXJlbnRTdHlsZSI6bnVsbH0sIkVsYXBzZWRUaW1lQmFja2dyb3VuZCI6eyIkaWQiOiI0NyIsIkNvbG9yIjp7IiRpZCI6IjQ4IiwiQSI6NzcsIlIiOjAsIkciOjAsIkIiOjB9fSwiQXBwZW5kWWVhck9uWWVhckNoYW5nZSI6dHJ1ZSwiRWxhcHNlZFRpbWVGb3JtYXQiOjEsIlRvZGF5TWFya2VyUG9zaXRpb24iOjAsIlF1aWNrUG9zaXRpb24iOjMsIkFic29sdXRlUG9zaXRpb24iOjIyOS41LCJNYXJnaW4iOnsiJGlkIjoiNDkiLCJUb3AiOjAsIkxlZnQiOjEwLCJSaWdodCI6MTAsIkJvdHRvbSI6MH0sIlBhZGRpbmciOnsiJGlkIjoiNTAiLCJUb3AiOjAsIkxlZnQiOjAsIlJpZ2h0IjowLCJCb3R0b20iOjB9LCJCYWNrZ3JvdW5kIjp7IiRpZCI6IjUxIiwiQ29sb3IiOnsiJGlkIjoiNTIiLCJBIjoyNTUsIlIiOjY4LCJHIjo4NCwiQiI6MTA2fX0sIklzVmlzaWJsZSI6dHJ1ZSwiV2lkdGgiOjAuMCwiSGVpZ2h0IjowLjAsIkJvcmRlclN0eWxlIjpudWxsLCJQYXJlbnRTdHlsZSI6bnVsbH0sIkRlZmF1bHRNaWxlc3RvbmVTdHlsZSI6eyIkaWQiOiI1MyIsIlNoYXBlIjowLCJDb25uZWN0b3JNYXJnaW4iOnsiJGlkIjoiNTQiLCJUb3AiOjAsIkxlZnQiOjIsIlJpZ2h0IjoyLCJCb3R0b20iOjB9LCJDb25uZWN0b3JTdHlsZSI6eyIkaWQiOiI1NSIsIkxpbmVDb2xvciI6eyIkaWQiOiI1NiIsIiR0eXBlIjoiTkxSRS5Db21tb24uRG9tLlNvbGlkQ29sb3JCcnVzaCwgTkxSRS5Db21tb24iLCJDb2xvciI6eyIkaWQiOiI1NyIsIkEiOjI1NSwiUiI6NzksIkciOjEyOSwiQiI6MTg5fX0sIkxpbmVXZWlnaHQiOjEuMCwiTGluZVR5cGUiOjAsIlBhcmVudFN0eWxlIjpudWxsfSwiSXNCZWxvd1RpbWViYW5kIjpmYWxzZSwiSGlkZURhdGUiOmZhbHNlLCJTaGFwZVNpemUiOjEsIlNwYWNpbmciOjIuMCwiUGFkZGluZyI6eyIkaWQiOiI1OCIsIlRvcCI6NywiTGVmdCI6MywiUmlnaHQiOjAsIkJvdHRvbSI6Mn0sIlNoYXBlU3R5bGUiOnsiJGlkIjoiNTkiLCJNYXJnaW4iOnsiJGlkIjoiNjAiLCJUb3AiOjAsIkxlZnQiOjAsIlJpZ2h0IjowLCJCb3R0b20iOjB9LCJQYWRkaW5nIjp7IiRpZCI6IjYxIiwiVG9wIjowLCJMZWZ0IjowLCJSaWdodCI6MCwiQm90dG9tIjowfSwiQmFja2dyb3VuZCI6bnVsbCwiSXNWaXNpYmxlIjp0cnVlLCJXaWR0aCI6MTguMCwiSGVpZ2h0IjoyMC4wLCJCb3JkZXJTdHlsZSI6eyIkaWQiOiI2MiIsIkxpbmVDb2xvciI6eyIkaWQiOiI2MyIsIiR0eXBlIjoiTkxSRS5Db21tb24uRG9tLlNvbGlkQ29sb3JCcnVzaCwgTkxSRS5Db21tb24iLCJDb2xvciI6eyIkaWQiOiI2NCIsIkEiOjI1NSwiUiI6MjU1LCJHIjowLCJCIjowfX0sIkxpbmVXZWlnaHQiOjAuMCwiTGluZVR5cGUiOjAsIlBhcmVudFN0eWxlIjpudWxsfSwiUGFyZW50U3R5bGUiOm51bGx9LCJUaXRsZVN0eWxlIjp7IiRpZCI6IjY1IiwiRm9udFNldHRpbmdzIjp7IiRpZCI6IjY2IiwiRm9udFNpemUiOjE0LCJGb250TmFtZSI6IkNvcmJlbCIsIklzQm9sZCI6ZmFsc2UsIklzSXRhbGljIjpmYWxzZSwiSXNVbmRlcmxpbmVkIjpmYWxzZSwiUGFyZW50U3R5bGUiOm51bGx9LCJBdXRvU2l6ZSI6MCwiRm9yZWdyb3VuZCI6eyIkaWQiOiI2NyIsIkNvbG9yIjp7IiRpZCI6IjY4IiwiQSI6MjU1LCJSIjowLCJHIjowLCJCIjowfX0sIk1heFdpZHRoIjoyMDAuMCwiTWF4SGVpZ2h0IjoiSW5maW5pdHkiLCJTbWFydEZvcmVncm91bmRJc0FjdGl2ZSI6ZmFsc2UsIkhvcml6b250YWxBbGlnbm1lbnQiOjEsIlZlcnRpY2FsQWxpZ25tZW50IjowLCJTbWFydEZvcmVncm91bmQiOm51bGwsIk1hcmdpbiI6eyIkaWQiOiI2OSIsIlRvcCI6MCwiTGVmdCI6MCwiUmlnaHQiOjAsIkJvdHRvbSI6MH0sIlBhZGRpbmciOnsiJGlkIjoiNzAiLCJUb3AiOjAsIkxlZnQiOjAsIlJpZ2h0IjowLCJCb3R0b20iOjB9LCJCYWNrZ3JvdW5kIjp7IiRpZCI6IjcxIiwiQ29sb3IiOnsiJHJlZiI6IjIwIn19LCJJc1Zpc2libGUiOnRydWUsIldpZHRoIjowLjAsIkhlaWdodCI6MC4wLCJCb3JkZXJTdHlsZSI6bnVsbCwiUGFyZW50U3R5bGUiOm51bGx9LCJEYXRlU3R5bGUiOnsiJGlkIjoiNzIiLCJGb250U2V0dGluZ3MiOnsiJGlkIjoiNzMiLCJGb250U2l6ZSI6MTEsIkZvbnROYW1lIjoiQ29yYmVsIiwiSXNCb2xkIjpmYWxzZSwiSXNJdGFsaWMiOmZhbHNlLCJJc1VuZGVybGluZWQiOmZhbHNlLCJQYXJlbnRTdHlsZSI6bnVsbH0sIkF1dG9TaXplIjowLCJGb3JlZ3JvdW5kIjp7IiRpZCI6Ijc0IiwiQ29sb3IiOnsiJGlkIjoiNzUiLCJBIjoyNTUsIlIiOjIwOSwiRyI6NDAsIkIiOjQ2fX0sIk1heFdpZHRoIjoyMDAuMCwiTWF4SGVpZ2h0IjoiSW5maW5pdHkiLCJTbWFydEZvcmVncm91bmRJc0FjdGl2ZSI6ZmFsc2UsIkhvcml6b250YWxBbGlnbm1lbnQiOjAsIlZlcnRpY2FsQWxpZ25tZW50IjowLCJTbWFydEZvcmVncm91bmQiOm51bGwsIk1hcmdpbiI6eyIkaWQiOiI3NiIsIlRvcCI6MCwiTGVmdCI6MCwiUmlnaHQiOjAsIkJvdHRvbSI6MH0sIlBhZGRpbmciOnsiJGlkIjoiNzciLCJUb3AiOjAsIkxlZnQiOjAsIlJpZ2h0IjowLCJCb3R0b20iOjB9LCJCYWNrZ3JvdW5kIjp7IiRpZCI6Ijc4IiwiQ29sb3IiOnsiJHJlZiI6IjIwIn19LCJJc1Zpc2libGUiOnRydWUsIldpZHRoIjowLjAsIkhlaWdodCI6MC4wLCJCb3JkZXJTdHlsZSI6bnVsbCwiUGFyZW50U3R5bGUiOm51bGx9LCJEYXRlRm9ybWF0Ijp7IiRpZCI6Ijc5IiwiRm9ybWF0U3RyaW5nIjoiTU1NIGQiLCJTZXBhcmF0b3IiOiIvIiwiVXNlSW50ZXJuYXRpb25hbERhdGVGb3JtYXQiOmZhbHNlfSwiSXNWaXNpYmxlIjp0cnVlLCJQYXJlbnRTdHlsZSI6bnVsbH0sIkRlZmF1bHRUYXNrU3R5bGUiOnsiJGlkIjoiODAiLCJTaGFwZSI6MiwiU2hhcGVUaGlja25lc3MiOjEsIkR1cmF0aW9uRm9ybWF0IjowLCJJbmNsdWRlTm9uV29ya2luZ0RheXNJbkR1cmF0aW9uIjpmYWxzZSwiUGVyY2VudGFnZUNvbXBsZXRlU3R5bGUiOnsiJGlkIjoiODEiLCJGb250U2V0dGluZ3MiOnsiJGlkIjoiODIiLCJGb250U2l6ZSI6MTAsIkZvbnROYW1lIjoiQ2FsaWJyaSIsIklzQm9sZCI6ZmFsc2UsIklzSXRhbGljIjpmYWxzZSwiSXNVbmRlcmxpbmVkIjpmYWxzZSwiUGFyZW50U3R5bGUiOm51bGx9LCJBdXRvU2l6ZSI6MCwiRm9yZWdyb3VuZCI6eyIkaWQiOiI4MyIsIkNvbG9yIjp7IiRpZCI6Ijg0IiwiQSI6MjU1LCJSIjoxOTIsIkciOjgwLCJCIjo3N319LCJNYXhXaWR0aCI6MjAwLjAsIk1heEhlaWdodCI6IkluZmluaXR5IiwiU21hcnRGb3JlZ3JvdW5kSXNBY3RpdmUiOmZhbHNlLCJIb3Jpem9udGFsQWxpZ25tZW50IjowLCJWZXJ0aWNhbEFsaWdubWVudCI6MCwiU21hcnRGb3JlZ3JvdW5kIjpudWxsLCJNYXJnaW4iOnsiJGlkIjoiODUiLCJUb3AiOjAsIkxlZnQiOjAsIlJpZ2h0IjowLCJCb3R0b20iOjB9LCJQYWRkaW5nIjp7IiRpZCI6Ijg2IiwiVG9wIjowLCJMZWZ0IjowLCJSaWdodCI6MCwiQm90dG9tIjowfSwiQmFja2dyb3VuZCI6eyIkaWQiOiI4NyIsIkNvbG9yIjp7IiRyZWYiOiIyMCJ9fSwiSXNWaXNpYmxlIjp0cnVlLCJXaWR0aCI6MC4wLCJIZWlnaHQiOjAuMCwiQm9yZGVyU3R5bGUiOm51bGwsIlBhcmVudFN0eWxlIjpudWxsfSwiRHVyYXRpb25TdHlsZSI6eyIkaWQiOiI4OCIsIkZvbnRTZXR0aW5ncyI6eyIkaWQiOiI4OSIsIkZvbnRTaXplIjoxMiwiRm9udE5hbWUiOiJDYWxpYnJpIiwiSXNCb2xkIjpmYWxzZSwiSXNJdGFsaWMiOmZhbHNlLCJJc1VuZGVybGluZWQiOmZhbHNlLCJQYXJlbnRTdHlsZSI6bnVsbH0sIkF1dG9TaXplIjowLCJGb3JlZ3JvdW5kIjp7IiRpZCI6IjkwIiwiQ29sb3IiOnsiJGlkIjoiOTEiLCJBIjoyNTUsIlIiOjI1NSwiRyI6MjU1LCJCIjoyNTV9fSwiTWF4V2lkdGgiOjIwMC4wLCJNYXhIZWlnaHQiOiJJbmZpbml0eSIsIlNtYXJ0Rm9yZWdyb3VuZElzQWN0aXZlIjpmYWxzZSwiSG9yaXpvbnRhbEFsaWdubWVudCI6MCwiVmVydGljYWxBbGlnbm1lbnQiOjAsIlNtYXJ0Rm9yZWdyb3VuZCI6bnVsbCwiTWFyZ2luIjp7IiRpZCI6IjkyIiwiVG9wIjowLCJMZWZ0IjowLCJSaWdodCI6MCwiQm90dG9tIjowfSwiUGFkZGluZyI6eyIkaWQiOiI5MyIsIlRvcCI6MCwiTGVmdCI6MCwiUmlnaHQiOjAsIkJvdHRvbSI6MH0sIkJhY2tncm91bmQiOnsiJGlkIjoiOTQiLCJDb2xvciI6eyIkcmVmIjoiMjAifX0sIklzVmlzaWJsZSI6dHJ1ZSwiV2lkdGgiOjAuMCwiSGVpZ2h0IjowLjAsIkJvcmRlclN0eWxlIjpudWxsLCJQYXJlbnRTdHlsZSI6bnVsbH0sIkhvcml6b250YWxDb25uZWN0b3JTdHlsZSI6eyIkaWQiOiI5NSIsIkxpbmVDb2xvciI6eyIkaWQiOiI5NiIsIiR0eXBlIjoiTkxSRS5Db21tb24uRG9tLlNvbGlkQ29sb3JCcnVzaCwgTkxSRS5Db21tb24iLCJDb2xvciI6eyIkaWQiOiI5NyIsIkEiOjI1NSwiUiI6MjMxLCJHIjoyMzAsIkIiOjIzMH19LCJMaW5lV2VpZ2h0IjowLjAsIkxpbmVUeXBlIjowLCJQYXJlbnRTdHlsZSI6bnVsbH0sIlZlcnRpY2FsQ29ubmVjdG9yU3R5bGUiOnsiJGlkIjoiOTgiLCJMaW5lQ29sb3IiOnsiJGlkIjoiOTkiLCIkdHlwZSI6Ik5MUkUuQ29tbW9uLkRvbS5Tb2xpZENvbG9yQnJ1c2gsIE5MUkUuQ29tbW9uIiwiQ29sb3IiOnsiJGlkIjoiMTAwIiwiQSI6MjU1LCJSIjoyMzEsIkciOjIzMCwiQiI6MjMwfX0sIkxpbmVXZWlnaHQiOjAuMCwiTGluZVR5cGUiOjAsIlBhcmVudFN0eWxlIjpudWxsfSwiTWFyZ2luIjpudWxsLCJTdGFydERhdGVQb3NpdGlvbiI6NCwiRW5kRGF0ZVBvc2l0aW9uIjo0LCJUaXRsZVBvc2l0aW9uIjozLCJEdXJhdGlvblBvc2l0aW9uIjo2LCJQZXJjZW50YWdlQ29tcGxldGVkUG9zaXRpb24iOjYsIlNwYWNpbmciOjEwLCJJc0JlbG93VGltZWJhbmQiOnRydWUsIlBlcmNlbnRhZ2VDb21wbGV0ZVNoYXBlT3BhY2l0eSI6MzUsIlNoYXBlU3R5bGUiOnsiJGlkIjoiMTAxIiwiTWFyZ2luIjp7IiRpZCI6IjEwMiIsIlRvcCI6MCwiTGVmdCI6NCwiUmlnaHQiOjQsIkJvdHRvbSI6MH0sIlBhZGRpbmciOnsiJGlkIjoiMTAzIiwiVG9wIjowLCJMZWZ0IjowLCJSaWdodCI6MCwiQm90dG9tIjowfSwiQmFja2dyb3VuZCI6bnVsbCwiSXNWaXNpYmxlIjp0cnVlLCJXaWR0aCI6MC4wLCJIZWlnaHQiOjE2LjAsIkJvcmRlclN0eWxlIjp7IiRpZCI6IjEwNCIsIkxpbmVDb2xvciI6eyIkaWQiOiIxMDUiLCIkdHlwZSI6Ik5MUkUuQ29tbW9uLkRvbS5Tb2xpZENvbG9yQnJ1c2gsIE5MUkUuQ29tbW9uIiwiQ29sb3IiOnsiJGlkIjoiMTA2IiwiQSI6MjU1LCJSIjoyNTUsIkciOjAsIkIiOjB9fSwiTGluZVdlaWdodCI6MC4wLCJMaW5lVHlwZSI6MCwiUGFyZW50U3R5bGUiOm51bGx9LCJQYXJlbnRTdHlsZSI6bnVsbH0sIlRpdGxlU3R5bGUiOnsiJGlkIjoiMTA3IiwiRm9udFNldHRpbmdzIjp7IiRpZCI6IjEwOCIsIkZvbnRTaXplIjoxNCwiRm9udE5hbWUiOiJDb3JiZWwiLCJJc0JvbGQiOmZhbHNlLCJJc0l0YWxpYyI6ZmFsc2UsIklzVW5kZXJsaW5lZCI6ZmFsc2UsIlBhcmVudFN0eWxlIjpudWxsfSwiQXV0b1NpemUiOjAsIkZvcmVncm91bmQiOnsiJGlkIjoiMTA5IiwiQ29sb3IiOnsiJGlkIjoiMTEwIiwiQSI6MjU1LCJSIjowLCJHIjowLCJCIjowfX0sIk1heFdpZHRoIjoyMDAuMCwiTWF4SGVpZ2h0IjoiSW5maW5pdHkiLCJTbWFydEZvcmVncm91bmRJc0FjdGl2ZSI6ZmFsc2UsIkhvcml6b250YWxBbGlnbm1lbnQiOjIsIlZlcnRpY2FsQWxpZ25tZW50IjowLCJTbWFydEZvcmVncm91bmQiOm51bGwsIk1hcmdpbiI6eyIkaWQiOiIxMTEiLCJUb3AiOjAsIkxlZnQiOjAsIlJpZ2h0IjowLCJCb3R0b20iOjB9LCJQYWRkaW5nIjp7IiRpZCI6IjExMiIsIlRvcCI6MCwiTGVmdCI6MCwiUmlnaHQiOjAsIkJvdHRvbSI6MH0sIkJhY2tncm91bmQiOnsiJGlkIjoiMTEzIiwiQ29sb3IiOnsiJHJlZiI6IjIwIn19LCJJc1Zpc2libGUiOnRydWUsIldpZHRoIjowLjAsIkhlaWdodCI6MC4wLCJCb3JkZXJTdHlsZSI6bnVsbCwiUGFyZW50U3R5bGUiOm51bGx9LCJEYXRlU3R5bGUiOnsiJGlkIjoiMTE0IiwiRm9udFNldHRpbmdzIjp7IiRpZCI6IjExNSIsIkZvbnRTaXplIjoxMiwiRm9udE5hbWUiOiJDYWxpYnJpIiwiSXNCb2xkIjpmYWxzZSwiSXNJdGFsaWMiOmZhbHNlLCJJc1VuZGVybGluZWQiOmZhbHNlLCJQYXJlbnRTdHlsZSI6bnVsbH0sIkF1dG9TaXplIjowLCJGb3JlZ3JvdW5kIjp7IiRpZCI6IjExNiIsIkNvbG9yIjp7IiRpZCI6IjExNyIsIkEiOjI1NSwiUiI6MjU1LCJHIjoyNTUsIkIiOjI1NX19LCJNYXhXaWR0aCI6MjAwLjAsIk1heEhlaWdodCI6IkluZmluaXR5IiwiU21hcnRGb3JlZ3JvdW5kSXNBY3RpdmUiOmZhbHNlLCJIb3Jpem9udGFsQWxpZ25tZW50IjowLCJWZXJ0aWNhbEFsaWdubWVudCI6MCwiU21hcnRGb3JlZ3JvdW5kIjpudWxsLCJNYXJnaW4iOnsiJGlkIjoiMTE4IiwiVG9wIjowLCJMZWZ0IjowLCJSaWdodCI6MCwiQm90dG9tIjowfSwiUGFkZGluZyI6eyIkaWQiOiIxMTkiLCJUb3AiOjAsIkxlZnQiOjAsIlJpZ2h0IjowLCJCb3R0b20iOjB9LCJCYWNrZ3JvdW5kIjp7IiRpZCI6IjEyMCIsIkNvbG9yIjp7IiRyZWYiOiIyMCJ9fSwiSXNWaXNpYmxlIjp0cnVlLCJXaWR0aCI6MC4wLCJIZWlnaHQiOjAuMCwiQm9yZGVyU3R5bGUiOm51bGwsIlBhcmVudFN0eWxlIjpudWxsfSwiRGF0ZUZvcm1hdCI6eyIkaWQiOiIxMjEiLCJGb3JtYXRTdHJpbmciOiJNTU0gZCIsIlNlcGFyYXRvciI6Ii8iLCJVc2VJbnRlcm5hdGlvbmFsRGF0ZUZvcm1hdCI6ZmFsc2V9LCJJc1Zpc2libGUiOnRydWUsIlBhcmVudFN0eWxlIjpudWxsfSwiU2hvd0VsYXBzZWRUaW1lR3JhZGllbnRTdHlsZSI6ZmFsc2V9LCJTY2FsZSI6eyIkaWQiOiIxMjIiLCJTdGFydERhdGUiOiIyMDE1LTA1LTEwVDAwOjAwOjAwWiIsIkVuZERhdGUiOiIyMDE2LTAxLTMwVDIzOjU5OjU5WiIsIkZvcm1hdCI6Ik1NTSIsIlR5cGUiOjIsIkF1dG9EYXRlUmFuZ2UiOnRydWUsIldvcmtpbmdEYXlzIjozMSwiVG9kYXlNYXJrZXJUZXh0IjoiVG9kYXkiLCJBdXRvU2NhbGVUeXBlIjp0cnVlfSwiTWlsZXN0b25lcyI6W3siJGlkIjoiMTIzIiwiRGF0ZSI6IjIwMTUtMDUtMTBUMDA6MDA6MDBaIiwiU3R5bGUiOnsiJGlkIjoiMTI0IiwiU2hhcGUiOjIsIkNvbm5lY3Rvck1hcmdpbiI6eyIkcmVmIjoiNTQifSwiQ29ubmVjdG9yU3R5bGUiOnsiJGlkIjoiMTI1IiwiTGluZUNvbG9yIjp7IiRpZCI6IjEyNiIsIiR0eXBlIjoiTkxSRS5Db21tb24uRG9tLlNvbGlkQ29sb3JCcnVzaCwgTkxSRS5Db21tb24iLCJDb2xvciI6eyIkaWQiOiIxMjciLCJBIjoyNTUsIlIiOjAsIkciOjExNCwiQiI6MTg4fX0sIkxpbmVXZWlnaHQiOjEuMCwiTGluZVR5cGUiOjAsIlBhcmVudFN0eWxlIjp7IiRyZWYiOiI1NSJ9fSwiSXNCZWxvd1RpbWViYW5kIjpmYWxzZSwiSGlkZURhdGUiOmZhbHNlLCJTaGFwZVNpemUiOjEsIlNwYWNpbmciOjAuMCwiUGFkZGluZyI6eyIkaWQiOiIxMjgiLCJUb3AiOjAsIkxlZnQiOjAsIlJpZ2h0IjowLCJCb3R0b20iOjB9LCJTaGFwZVN0eWxlIjp7IiRpZCI6IjEyOSIsIk1hcmdpbiI6eyIkcmVmIjoiNjAifSwiUGFkZGluZyI6eyIkcmVmIjoiNjEifSwiQmFja2dyb3VuZCI6eyIkaWQiOiIxMzAiLCJDb2xvciI6eyIkaWQiOiIxMzEiLCJBIjoyNTUsIlIiOjgsIkciOjEyNywiQiI6MTk1fX0sIklzVmlzaWJsZSI6dHJ1ZSwiV2lkdGgiOjEzLjAsIkhlaWdodCI6MTMuMCwiQm9yZGVyU3R5bGUiOnsiJGlkIjoiMTMyIiwiTGluZUNvbG9yIjp7IiRyZWYiOiI2MyJ9LCJMaW5lV2VpZ2h0IjowLjAsIkxpbmVUeXBlIjowLCJQYXJlbnRTdHlsZSI6eyIkcmVmIjoiNjIifX0sIlBhcmVudFN0eWxlIjp7IiRyZWYiOiI1OSJ9fSwiVGl0bGVTdHlsZSI6eyIkaWQiOiIxMzMiLCJGb250U2V0dGluZ3MiOnsiJGlkIjoiMTM0IiwiRm9udFNpemUiOjEwLCJGb250TmFtZSI6IkNhbGlicmkiLCJJc0JvbGQiOnRydWUsIklzSXRhbGljIjpmYWxzZSwiSXNVbmRlcmxpbmVkIjpmYWxzZSwiUGFyZW50U3R5bGUiOnsiJHJlZiI6IjY2In19LCJBdXRvU2l6ZSI6MCwiRm9yZWdyb3VuZCI6eyIkaWQiOiIxMzUiLCJDb2xvciI6eyIkaWQiOiIxMzYiLCJBIjoyNTUsIlIiOjU5LCJHIjo4OSwiQiI6MTUyfX0sIk1heFdpZHRoIjo1MS42MjUwMzgxNDY5NzI2NTYsIk1heEhlaWdodCI6IkluZmluaXR5IiwiU21hcnRGb3JlZ3JvdW5kSXNBY3RpdmUiOmZhbHNlLCJIb3Jpem9udGFsQWxpZ25tZW50IjowLCJWZXJ0aWNhbEFsaWdubWVudCI6MCwiU21hcnRGb3JlZ3JvdW5kIjpudWxsLCJNYXJnaW4iOnsiJHJlZiI6IjY5In0sIlBhZGRpbmciOnsiJHJlZiI6IjcwIn0sIkJhY2tncm91bmQiOnsiJHJlZiI6IjcxIn0sIklzVmlzaWJsZSI6dHJ1ZSwiV2lkdGgiOjAuMCwiSGVpZ2h0IjowLjAsIkJvcmRlclN0eWxlIjp7IiRpZCI6IjEzNyIsIkxpbmVDb2xvciI6bnVsbCwiTGluZVdlaWdodCI6MC4wLCJMaW5lVHlwZSI6MCwiUGFyZW50U3R5bGUiOm51bGx9LCJQYXJlbnRTdHlsZSI6eyIkcmVmIjoiNjUifX0sIkRhdGVTdHlsZSI6eyIkaWQiOiIxMzgiLCJGb250U2V0dGluZ3MiOnsiJGlkIjoiMTM5IiwiRm9udFNpemUiOjEwLCJGb250TmFtZSI6IkNhbGlicmkiLCJJc0JvbGQiOmZhbHNlLCJJc0l0YWxpYyI6ZmFsc2UsIklzVW5kZXJsaW5lZCI6ZmFsc2UsIlBhcmVudFN0eWxlIjp7IiRyZWYiOiI3MyJ9fSwiQXV0b1NpemUiOjAsIkZvcmVncm91bmQiOnsiJGlkIjoiMTQwIiwiQ29sb3IiOnsiJGlkIjoiMTQxIiwiQSI6MjU1LCJSIjoxMjcsIkciOjEyNywiQiI6MTI3fX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QyIiwiTGluZUNvbG9yIjpudWxsLCJMaW5lV2VpZ2h0IjowLjAsIkxpbmVUeXBlIjowLCJQYXJlbnRTdHlsZSI6bnVsbH0sIlBhcmVudFN0eWxlIjp7IiRyZWYiOiI3MiJ9fSwiRGF0ZUZvcm1hdCI6eyIkcmVmIjoiNzkifSwiSXNWaXNpYmxlIjp0cnVlLCJQYXJlbnRTdHlsZSI6eyIkcmVmIjoiNTMifX0sIlBvc2l0aW9uIjp7IiRpZCI6IjE0MyIsIlJhdGlvIjowLjE3NTM5NjAyMjA5MDIwNTQ0LCJJc0N1c3RvbSI6dHJ1ZX0sIklkIjoiYTU4ZjI5NDgtN2MwMy00M2MwLThhYmMtZjQxOTEzZTQwY2FlIiwiVGl0bGUiOiJNaWxlc3RvbmUgMSIsIk5vdGUiOm51bGwsIkh5cGVybGluayI6bnVsbCwiSXNDaGFuZ2VkIjpmYWxzZSwiSXNOZXciOnRydWV9LHsiJGlkIjoiMTQ0IiwiRGF0ZSI6IjIwMTUtMDUtMTVUMDA6MDA6MDBaIiwiU3R5bGUiOnsiJGlkIjoiMTQ1IiwiU2hhcGUiOjIsIkNvbm5lY3Rvck1hcmdpbiI6eyIkcmVmIjoiNTQifSwiQ29ubmVjdG9yU3R5bGUiOnsiJGlkIjoiMTQ2IiwiTGluZUNvbG9yIjp7IiRpZCI6IjE0NyIsIiR0eXBlIjoiTkxSRS5Db21tb24uRG9tLlNvbGlkQ29sb3JCcnVzaCwgTkxSRS5Db21tb24iLCJDb2xvciI6eyIkaWQiOiIxNDgiLCJBIjoyNTUsIlIiOjgsIkciOjEyNywiQiI6MTk1fX0sIkxpbmVXZWlnaHQiOjEuMCwiTGluZVR5cGUiOjAsIlBhcmVudFN0eWxlIjp7IiRyZWYiOiI1NSJ9fSwiSXNCZWxvd1RpbWViYW5kIjpmYWxzZSwiSGlkZURhdGUiOmZhbHNlLCJTaGFwZVNpemUiOjEsIlNwYWNpbmciOjAuMCwiUGFkZGluZyI6eyIkaWQiOiIxNDkiLCJUb3AiOjAsIkxlZnQiOjAsIlJpZ2h0IjowLCJCb3R0b20iOjB9LCJTaGFwZVN0eWxlIjp7IiRpZCI6IjE1MCIsIk1hcmdpbiI6eyIkcmVmIjoiNjAifSwiUGFkZGluZyI6eyIkcmVmIjoiNjEifSwiQmFja2dyb3VuZCI6eyIkaWQiOiIxNTEiLCJDb2xvciI6eyIkaWQiOiIxNTIiLCJBIjoyNTUsIlIiOjgsIkciOjEyNywiQiI6MTk1fX0sIklzVmlzaWJsZSI6dHJ1ZSwiV2lkdGgiOjEzLjAsIkhlaWdodCI6MTMuMCwiQm9yZGVyU3R5bGUiOnsiJGlkIjoiMTUzIiwiTGluZUNvbG9yIjp7IiRyZWYiOiI2MyJ9LCJMaW5lV2VpZ2h0IjowLjAsIkxpbmVUeXBlIjowLCJQYXJlbnRTdHlsZSI6eyIkcmVmIjoiNjIifX0sIlBhcmVudFN0eWxlIjp7IiRyZWYiOiI1OSJ9fSwiVGl0bGVTdHlsZSI6eyIkaWQiOiIxNTQiLCJGb250U2V0dGluZ3MiOnsiJGlkIjoiMTU1IiwiRm9udFNpemUiOjEwLCJGb250TmFtZSI6IkNhbGlicmkiLCJJc0JvbGQiOnRydWUsIklzSXRhbGljIjpmYWxzZSwiSXNVbmRlcmxpbmVkIjpmYWxzZSwiUGFyZW50U3R5bGUiOnsiJHJlZiI6IjY2In19LCJBdXRvU2l6ZSI6MCwiRm9yZWdyb3VuZCI6eyIkaWQiOiIxNTYiLCJDb2xvciI6eyIkaWQiOiIxNTciLCJBIjoyNTUsIlIiOjU5LCJHIjo4OSwiQiI6MTUyfX0sIk1heFdpZHRoIjo1MS42MjUwMzgxNDY5NzI2NTYsIk1heEhlaWdodCI6IkluZmluaXR5IiwiU21hcnRGb3JlZ3JvdW5kSXNBY3RpdmUiOmZhbHNlLCJIb3Jpem9udGFsQWxpZ25tZW50IjowLCJWZXJ0aWNhbEFsaWdubWVudCI6MCwiU21hcnRGb3JlZ3JvdW5kIjpudWxsLCJNYXJnaW4iOnsiJHJlZiI6IjY5In0sIlBhZGRpbmciOnsiJHJlZiI6IjcwIn0sIkJhY2tncm91bmQiOnsiJHJlZiI6IjcxIn0sIklzVmlzaWJsZSI6dHJ1ZSwiV2lkdGgiOjAuMCwiSGVpZ2h0IjowLjAsIkJvcmRlclN0eWxlIjp7IiRpZCI6IjE1OCIsIkxpbmVDb2xvciI6bnVsbCwiTGluZVdlaWdodCI6MC4wLCJMaW5lVHlwZSI6MCwiUGFyZW50U3R5bGUiOm51bGx9LCJQYXJlbnRTdHlsZSI6eyIkcmVmIjoiNjUifX0sIkRhdGVTdHlsZSI6eyIkaWQiOiIxNTkiLCJGb250U2V0dGluZ3MiOnsiJGlkIjoiMTYwIiwiRm9udFNpemUiOjEwLCJGb250TmFtZSI6IkNhbGlicmkiLCJJc0JvbGQiOmZhbHNlLCJJc0l0YWxpYyI6ZmFsc2UsIklzVW5kZXJsaW5lZCI6ZmFsc2UsIlBhcmVudFN0eWxlIjp7IiRyZWYiOiI3MyJ9fSwiQXV0b1NpemUiOjAsIkZvcmVncm91bmQiOnsiJGlkIjoiMTYxIiwiQ29sb3IiOnsiJGlkIjoiMTYyIiwiQSI6MjU1LCJSIjoxMjcsIkciOjEyNywiQiI6MTI3fX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YzIiwiTGluZUNvbG9yIjpudWxsLCJMaW5lV2VpZ2h0IjowLjAsIkxpbmVUeXBlIjowLCJQYXJlbnRTdHlsZSI6bnVsbH0sIlBhcmVudFN0eWxlIjp7IiRyZWYiOiI3MiJ9fSwiRGF0ZUZvcm1hdCI6eyIkcmVmIjoiNzkifSwiSXNWaXNpYmxlIjp0cnVlLCJQYXJlbnRTdHlsZSI6eyIkcmVmIjoiNTMifX0sIlBvc2l0aW9uIjp7IiRpZCI6IjE2NCIsIlJhdGlvIjowLjEwODA5MzE3Njk0NzY5OTY1LCJJc0N1c3RvbSI6dHJ1ZX0sIklkIjoiNTI3NDNkZTgtYmI2ZC00MDQ0LTg5NmYtNDczODk4ZmU5ZGE3IiwiVGl0bGUiOiJNaWxlc3RvbmUgMiIsIk5vdGUiOm51bGwsIkh5cGVybGluayI6bnVsbCwiSXNDaGFuZ2VkIjpmYWxzZSwiSXNOZXciOnRydWV9LHsiJGlkIjoiMTY1IiwiRGF0ZSI6IjIwMTUtMDctMjFUMDA6MDA6MDBaIiwiU3R5bGUiOnsiJGlkIjoiMTY2IiwiU2hhcGUiOjgsIkNvbm5lY3Rvck1hcmdpbiI6eyIkcmVmIjoiNTQifSwiQ29ubmVjdG9yU3R5bGUiOnsiJGlkIjoiMTY3IiwiTGluZUNvbG9yIjp7IiRpZCI6IjE2OCIsIiR0eXBlIjoiTkxSRS5Db21tb24uRG9tLlNvbGlkQ29sb3JCcnVzaCwgTkxSRS5Db21tb24iLCJDb2xvciI6eyIkaWQiOiIxNjkiLCJBIjoyNTUsIlIiOjgsIkciOjEyNywiQiI6MTk1fX0sIkxpbmVXZWlnaHQiOjEuMCwiTGluZVR5cGUiOjAsIlBhcmVudFN0eWxlIjp7IiRyZWYiOiI1NSJ9fSwiSXNCZWxvd1RpbWViYW5kIjpmYWxzZSwiSGlkZURhdGUiOmZhbHNlLCJTaGFwZVNpemUiOjEsIlNwYWNpbmciOjAuMCwiUGFkZGluZyI6eyIkaWQiOiIxNzAiLCJUb3AiOjAsIkxlZnQiOjAsIlJpZ2h0IjowLCJCb3R0b20iOjB9LCJTaGFwZVN0eWxlIjp7IiRpZCI6IjE3MSIsIk1hcmdpbiI6eyIkcmVmIjoiNjAifSwiUGFkZGluZyI6eyIkcmVmIjoiNjEifSwiQmFja2dyb3VuZCI6eyIkaWQiOiIxNzIiLCJDb2xvciI6eyIkaWQiOiIxNzMiLCJBIjoyNTUsIlIiOjgsIkciOjEyNywiQiI6MTk1fX0sIklzVmlzaWJsZSI6dHJ1ZSwiV2lkdGgiOjE4LjAsIkhlaWdodCI6MjAuMCwiQm9yZGVyU3R5bGUiOnsiJGlkIjoiMTc0IiwiTGluZUNvbG9yIjp7IiRyZWYiOiI2MyJ9LCJMaW5lV2VpZ2h0IjowLjAsIkxpbmVUeXBlIjowLCJQYXJlbnRTdHlsZSI6eyIkcmVmIjoiNjIifX0sIlBhcmVudFN0eWxlIjp7IiRyZWYiOiI1OSJ9fSwiVGl0bGVTdHlsZSI6eyIkaWQiOiIxNzUiLCJGb250U2V0dGluZ3MiOnsiJGlkIjoiMTc2IiwiRm9udFNpemUiOjEwLCJGb250TmFtZSI6IkNhbGlicmkiLCJJc0JvbGQiOnRydWUsIklzSXRhbGljIjpmYWxzZSwiSXNVbmRlcmxpbmVkIjpmYWxzZSwiUGFyZW50U3R5bGUiOnsiJHJlZiI6IjY2In19LCJBdXRvU2l6ZSI6MCwiRm9yZWdyb3VuZCI6eyIkaWQiOiIxNzciLCJDb2xvciI6eyIkaWQiOiIxNzgiLCJBIjoyNTUsIlIiOjU5LCJHIjo4OSwiQiI6MTUyfX0sIk1heFdpZHRoIjo1MS42MjQ5NjE4NTMwMjczNDQsIk1heEhlaWdodCI6IkluZmluaXR5IiwiU21hcnRGb3JlZ3JvdW5kSXNBY3RpdmUiOmZhbHNlLCJIb3Jpem9udGFsQWxpZ25tZW50IjoxLCJWZXJ0aWNhbEFsaWdubWVudCI6MCwiU21hcnRGb3JlZ3JvdW5kIjpudWxsLCJNYXJnaW4iOnsiJHJlZiI6IjY5In0sIlBhZGRpbmciOnsiJHJlZiI6IjcwIn0sIkJhY2tncm91bmQiOnsiJHJlZiI6IjcxIn0sIklzVmlzaWJsZSI6dHJ1ZSwiV2lkdGgiOjAuMCwiSGVpZ2h0IjowLjAsIkJvcmRlclN0eWxlIjp7IiRpZCI6IjE3OSIsIkxpbmVDb2xvciI6bnVsbCwiTGluZVdlaWdodCI6MC4wLCJMaW5lVHlwZSI6MCwiUGFyZW50U3R5bGUiOm51bGx9LCJQYXJlbnRTdHlsZSI6eyIkcmVmIjoiNjUifX0sIkRhdGVTdHlsZSI6eyIkaWQiOiIxODAiLCJGb250U2V0dGluZ3MiOnsiJGlkIjoiMTgxIiwiRm9udFNpemUiOjEwLCJGb250TmFtZSI6IkNhbGlicmkiLCJJc0JvbGQiOmZhbHNlLCJJc0l0YWxpYyI6ZmFsc2UsIklzVW5kZXJsaW5lZCI6ZmFsc2UsIlBhcmVudFN0eWxlIjp7IiRyZWYiOiI3MyJ9fSwiQXV0b1NpemUiOjAsIkZvcmVncm91bmQiOnsiJGlkIjoiMTgyIiwiQ29sb3IiOnsiJGlkIjoiMTgzIiwiQSI6MjU1LCJSIjoxMjcsIkciOjEyNywiQiI6MTI3fX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0cnVlLCJXaWR0aCI6MC4wLCJIZWlnaHQiOjAuMCwiQm9yZGVyU3R5bGUiOnsiJGlkIjoiMTg0IiwiTGluZUNvbG9yIjpudWxsLCJMaW5lV2VpZ2h0IjowLjAsIkxpbmVUeXBlIjowLCJQYXJlbnRTdHlsZSI6bnVsbH0sIlBhcmVudFN0eWxlIjp7IiRyZWYiOiI3MiJ9fSwiRGF0ZUZvcm1hdCI6eyIkcmVmIjoiNzkifSwiSXNWaXNpYmxlIjp0cnVlLCJQYXJlbnRTdHlsZSI6eyIkcmVmIjoiNTMifX0sIlBvc2l0aW9uIjp7IiRpZCI6IjE4NSIsIlJhdGlvIjowLjA4NDA2MjU2MjE2NTQzNjkyMiwiSXNDdXN0b20iOnRydWV9LCJJZCI6ImE1NGJjODI3LWIwNTEtNDZkMS04YjU1LTlmNjE4NzIzZTJiNCIsIlRpdGxlIjoiTWlsZXN0b25lIDMiLCJOb3RlIjpudWxsLCJIeXBlcmxpbmsiOm51bGwsIklzQ2hhbmdlZCI6ZmFsc2UsIklzTmV3Ijp0cnVlfSx7IiRpZCI6IjE4NiIsIkRhdGUiOiIyMDE1LTA4LTEyVDAwOjAwOjAwWiIsIlN0eWxlIjp7IiRpZCI6IjE4NyIsIlNoYXBlIjo4LCJDb25uZWN0b3JNYXJnaW4iOnsiJHJlZiI6IjU0In0sIkNvbm5lY3RvclN0eWxlIjp7IiRpZCI6IjE4OCIsIkxpbmVDb2xvciI6eyIkaWQiOiIxODkiLCIkdHlwZSI6Ik5MUkUuQ29tbW9uLkRvbS5Tb2xpZENvbG9yQnJ1c2gsIE5MUkUuQ29tbW9uIiwiQ29sb3IiOnsiJGlkIjoiMTkwIiwiQSI6MjU1LCJSIjoyMjAsIkciOjg5LCJCIjozNn19LCJMaW5lV2VpZ2h0IjoxLjAsIkxpbmVUeXBlIjowLCJQYXJlbnRTdHlsZSI6eyIkcmVmIjoiNTUifX0sIklzQmVsb3dUaW1lYmFuZCI6ZmFsc2UsIkhpZGVEYXRlIjpmYWxzZSwiU2hhcGVTaXplIjoxLCJTcGFjaW5nIjowLjAsIlBhZGRpbmciOnsiJGlkIjoiMTkxIiwiVG9wIjowLCJMZWZ0IjowLCJSaWdodCI6MCwiQm90dG9tIjowfSwiU2hhcGVTdHlsZSI6eyIkaWQiOiIxOTIiLCJNYXJnaW4iOnsiJHJlZiI6IjYwIn0sIlBhZGRpbmciOnsiJHJlZiI6IjYxIn0sIkJhY2tncm91bmQiOnsiJGlkIjoiMTkzIiwiQ29sb3IiOnsiJGlkIjoiMTk0IiwiQSI6MjU1LCJSIjoyMjAsIkciOjg5LCJCIjozNn19LCJJc1Zpc2libGUiOnRydWUsIldpZHRoIjoxOC4wLCJIZWlnaHQiOjIwLjAsIkJvcmRlclN0eWxlIjp7IiRpZCI6IjE5NSIsIkxpbmVDb2xvciI6eyIkcmVmIjoiNjMifSwiTGluZVdlaWdodCI6MC4wLCJMaW5lVHlwZSI6MCwiUGFyZW50U3R5bGUiOnsiJHJlZiI6IjYyIn19LCJQYXJlbnRTdHlsZSI6eyIkcmVmIjoiNTkifX0sIlRpdGxlU3R5bGUiOnsiJGlkIjoiMTk2IiwiRm9udFNldHRpbmdzIjp7IiRpZCI6IjE5NyIsIkZvbnRTaXplIjoxMCwiRm9udE5hbWUiOiJDYWxpYnJpIiwiSXNCb2xkIjp0cnVlLCJJc0l0YWxpYyI6ZmFsc2UsIklzVW5kZXJsaW5lZCI6ZmFsc2UsIlBhcmVudFN0eWxlIjp7IiRyZWYiOiI2NiJ9fSwiQXV0b1NpemUiOjAsIkZvcmVncm91bmQiOnsiJGlkIjoiMTk4IiwiQ29sb3IiOnsiJGlkIjoiMTk5IiwiQSI6MjU1LCJSIjoyMTAsIkciOjcxLCJCIjozOH19LCJNYXhXaWR0aCI6NTEuNjI0OTYxODUzMDI3MzQ0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yMDAiLCJMaW5lQ29sb3IiOm51bGwsIkxpbmVXZWlnaHQiOjAuMCwiTGluZVR5cGUiOjAsIlBhcmVudFN0eWxlIjpudWxsfSwiUGFyZW50U3R5bGUiOnsiJHJlZiI6IjY1In19LCJEYXRlU3R5bGUiOnsiJGlkIjoiMjAxIiwiRm9udFNldHRpbmdzIjp7IiRpZCI6IjIwMiIsIkZvbnRTaXplIjoxMCwiRm9udE5hbWUiOiJDYWxpYnJpIiwiSXNCb2xkIjpmYWxzZSwiSXNJdGFsaWMiOmZhbHNlLCJJc1VuZGVybGluZWQiOmZhbHNlLCJQYXJlbnRTdHlsZSI6eyIkcmVmIjoiNzMifX0sIkF1dG9TaXplIjowLCJGb3JlZ3JvdW5kIjp7IiRpZCI6IjIwMyIsIkNvbG9yIjp7IiRpZCI6IjIwNCIsIkEiOjI1NSwiUiI6MTI3LCJHIjoxMjcsIkIiOjEyN31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dHJ1ZSwiV2lkdGgiOjAuMCwiSGVpZ2h0IjowLjAsIkJvcmRlclN0eWxlIjp7IiRpZCI6IjIwNSIsIkxpbmVDb2xvciI6bnVsbCwiTGluZVdlaWdodCI6MC4wLCJMaW5lVHlwZSI6MCwiUGFyZW50U3R5bGUiOm51bGx9LCJQYXJlbnRTdHlsZSI6eyIkcmVmIjoiNzIifX0sIkRhdGVGb3JtYXQiOnsiJHJlZiI6Ijc5In0sIklzVmlzaWJsZSI6dHJ1ZSwiUGFyZW50U3R5bGUiOnsiJHJlZiI6IjUzIn19LCJQb3NpdGlvbiI6eyIkaWQiOiIyMDYiLCJSYXRpbyI6MC4xNDY3NTAzNTgyOTg5NzI3OSwiSXNDdXN0b20iOnRydWV9LCJJZCI6IjkzYWZiNTU0LTU1MmEtNDIyMS1hNTM4LTBmNzkxOTQwOWFhNyIsIlRpdGxlIjoiTWlsZXN0b25lIDQiLCJOb3RlIjpudWxsLCJIeXBlcmxpbmsiOm51bGwsIklzQ2hhbmdlZCI6ZmFsc2UsIklzTmV3Ijp0cnVlfSx7IiRpZCI6IjIwNyIsIkRhdGUiOiIyMDE1LTExLTA3VDAwOjAwOjAwWiIsIlN0eWxlIjp7IiRpZCI6IjIwOCIsIlNoYXBlIjoxNCwiQ29ubmVjdG9yTWFyZ2luIjp7IiRyZWYiOiI1NCJ9LCJDb25uZWN0b3JTdHlsZSI6eyIkaWQiOiIyMDkiLCJMaW5lQ29sb3IiOnsiJGlkIjoiMjEwIiwiJHR5cGUiOiJOTFJFLkNvbW1vbi5Eb20uU29saWRDb2xvckJydXNoLCBOTFJFLkNvbW1vbiIsIkNvbG9yIjp7IiRpZCI6IjIxMSIsIkEiOjI1NSwiUiI6MjU1LCJHIjoxOTIsIkIiOjB9fSwiTGluZVdlaWdodCI6MS4wLCJMaW5lVHlwZSI6MCwiUGFyZW50U3R5bGUiOnsiJHJlZiI6IjU1In19LCJJc0JlbG93VGltZWJhbmQiOmZhbHNlLCJIaWRlRGF0ZSI6ZmFsc2UsIlNoYXBlU2l6ZSI6MSwiU3BhY2luZyI6MC4wLCJQYWRkaW5nIjp7IiRpZCI6IjIxMiIsIlRvcCI6MCwiTGVmdCI6MCwiUmlnaHQiOjAsIkJvdHRvbSI6MH0sIlNoYXBlU3R5bGUiOnsiJGlkIjoiMjEzIiwiTWFyZ2luIjp7IiRyZWYiOiI2MCJ9LCJQYWRkaW5nIjp7IiRyZWYiOiI2MSJ9LCJCYWNrZ3JvdW5kIjp7IiRpZCI6IjIxNCIsIkNvbG9yIjp7IiRpZCI6IjIxNSIsIkEiOjI1NSwiUiI6MjU1LCJHIjoxOTIsIkIiOjB9fSwiSXNWaXNpYmxlIjp0cnVlLCJXaWR0aCI6MTguMCwiSGVpZ2h0IjoyMC4wLCJCb3JkZXJTdHlsZSI6eyIkaWQiOiIyMTYiLCJMaW5lQ29sb3IiOnsiJHJlZiI6IjYzIn0sIkxpbmVXZWlnaHQiOjAuMCwiTGluZVR5cGUiOjAsIlBhcmVudFN0eWxlIjp7IiRyZWYiOiI2MiJ9fSwiUGFyZW50U3R5bGUiOnsiJHJlZiI6IjU5In19LCJUaXRsZVN0eWxlIjp7IiRpZCI6IjIxNyIsIkZvbnRTZXR0aW5ncyI6eyIkaWQiOiIyMTgiLCJGb250U2l6ZSI6MTAsIkZvbnROYW1lIjoiQ2FsaWJyaSIsIklzQm9sZCI6dHJ1ZSwiSXNJdGFsaWMiOmZhbHNlLCJJc1VuZGVybGluZWQiOmZhbHNlLCJQYXJlbnRTdHlsZSI6eyIkcmVmIjoiNjYifX0sIkF1dG9TaXplIjowLCJGb3JlZ3JvdW5kIjp7IiRpZCI6IjIxOSIsIkNvbG9yIjp7IiRpZCI6IjIyMCIsIkEiOjI1NSwiUiI6MjU1LCJHIjoxNTMsIkIiOjB9fSwiTWF4V2lkdGgiOjUxLjYyNTAzODE0Njk3MjY1Ni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jIxIiwiTGluZUNvbG9yIjpudWxsLCJMaW5lV2VpZ2h0IjowLjAsIkxpbmVUeXBlIjowLCJQYXJlbnRTdHlsZSI6bnVsbH0sIlBhcmVudFN0eWxlIjp7IiRyZWYiOiI2NSJ9fSwiRGF0ZVN0eWxlIjp7IiRpZCI6IjIyMiIsIkZvbnRTZXR0aW5ncyI6eyIkaWQiOiIyMjMiLCJGb250U2l6ZSI6OCwiRm9udE5hbWUiOiJDYWxpYnJpIiwiSXNCb2xkIjpmYWxzZSwiSXNJdGFsaWMiOmZhbHNlLCJJc1VuZGVybGluZWQiOmZhbHNlLCJQYXJlbnRTdHlsZSI6eyIkcmVmIjoiNzMifX0sIkF1dG9TaXplIjowLCJGb3JlZ3JvdW5kIjp7IiRyZWYiOiI3NCJ9LCJNYXhXaWR0aCI6MjAwLjAsIk1heEhlaWdodCI6IkluZmluaXR5IiwiU21hcnRGb3JlZ3JvdW5kSXNBY3RpdmUiOmZhbHNlLCJIb3Jpem9udGFsQWxpZ25tZW50IjowLCJWZXJ0aWNhbEFsaWdubWVudCI6MCwiU21hcnRGb3JlZ3JvdW5kIjpudWxsLCJNYXJnaW4iOnsiJHJlZiI6Ijc2In0sIlBhZGRpbmciOnsiJHJlZiI6Ijc3In0sIkJhY2tncm91bmQiOnsiJHJlZiI6Ijc4In0sIklzVmlzaWJsZSI6ZmFsc2UsIldpZHRoIjowLjAsIkhlaWdodCI6MC4wLCJCb3JkZXJTdHlsZSI6eyIkaWQiOiIyMjQiLCJMaW5lQ29sb3IiOm51bGwsIkxpbmVXZWlnaHQiOjAuMCwiTGluZVR5cGUiOjAsIlBhcmVudFN0eWxlIjpudWxsfSwiUGFyZW50U3R5bGUiOnsiJHJlZiI6IjcyIn19LCJEYXRlRm9ybWF0Ijp7IiRyZWYiOiI3OSJ9LCJJc1Zpc2libGUiOnRydWUsIlBhcmVudFN0eWxlIjp7IiRyZWYiOiI1MyJ9fSwiUG9zaXRpb24iOnsiJGlkIjoiMjI1IiwiUmF0aW8iOjAuMTAxMTM1MzEwNDIwMjgzNTYsIklzQ3VzdG9tIjp0cnVlfSwiSWQiOiI2YTI4M2IzNi03Mzc1LTQxNWItOTJiMC1lNWZjNGUxNmEwY2MiLCJUaXRsZSI6Ik1pbGVzdG9uZSA1IiwiTm90ZSI6bnVsbCwiSHlwZXJsaW5rIjpudWxsLCJJc0NoYW5nZWQiOmZhbHNlLCJJc05ldyI6dHJ1ZX0seyIkaWQiOiIyMjYiLCJEYXRlIjoiMjAxNS0xMi0yMFQwMDowMDowMFoiLCJTdHlsZSI6eyIkaWQiOiIyMjciLCJTaGFwZSI6OCwiQ29ubmVjdG9yTWFyZ2luIjp7IiRyZWYiOiI1NCJ9LCJDb25uZWN0b3JTdHlsZSI6eyIkaWQiOiIyMjgiLCJMaW5lQ29sb3IiOnsiJGlkIjoiMjI5IiwiJHR5cGUiOiJOTFJFLkNvbW1vbi5Eb20uU29saWRDb2xvckJydXNoLCBOTFJFLkNvbW1vbiIsIkNvbG9yIjp7IiRpZCI6IjIzMCIsIkEiOjI1NSwiUiI6OTgsIkciOjE4MSwiQiI6MTIzfX0sIkxpbmVXZWlnaHQiOjEuMCwiTGluZVR5cGUiOjAsIlBhcmVudFN0eWxlIjp7IiRyZWYiOiI1NSJ9fSwiSXNCZWxvd1RpbWViYW5kIjpmYWxzZSwiSGlkZURhdGUiOmZhbHNlLCJTaGFwZVNpemUiOjEsIlNwYWNpbmciOjAuMCwiUGFkZGluZyI6eyIkaWQiOiIyMzEiLCJUb3AiOjAsIkxlZnQiOjAsIlJpZ2h0IjowLCJCb3R0b20iOjB9LCJTaGFwZVN0eWxlIjp7IiRpZCI6IjIzMiIsIk1hcmdpbiI6eyIkcmVmIjoiNjAifSwiUGFkZGluZyI6eyIkcmVmIjoiNjEifSwiQmFja2dyb3VuZCI6eyIkaWQiOiIyMzMiLCJDb2xvciI6eyIkaWQiOiIyMzQiLCJBIjoyNTUsIlIiOjk4LCJHIjoxODEsIkIiOjEyM319LCJJc1Zpc2libGUiOnRydWUsIldpZHRoIjoxOC4wLCJIZWlnaHQiOjIwLjAsIkJvcmRlclN0eWxlIjp7IiRpZCI6IjIzNSIsIkxpbmVDb2xvciI6eyIkcmVmIjoiNjMifSwiTGluZVdlaWdodCI6MC4wLCJMaW5lVHlwZSI6MCwiUGFyZW50U3R5bGUiOnsiJHJlZiI6IjYyIn19LCJQYXJlbnRTdHlsZSI6eyIkcmVmIjoiNTkifX0sIlRpdGxlU3R5bGUiOnsiJGlkIjoiMjM2IiwiRm9udFNldHRpbmdzIjp7IiRpZCI6IjIzNyIsIkZvbnRTaXplIjoxMCwiRm9udE5hbWUiOiJDYWxpYnJpIiwiSXNCb2xkIjp0cnVlLCJJc0l0YWxpYyI6ZmFsc2UsIklzVW5kZXJsaW5lZCI6ZmFsc2UsIlBhcmVudFN0eWxlIjp7IiRyZWYiOiI2NiJ9fSwiQXV0b1NpemUiOjAsIkZvcmVncm91bmQiOnsiJGlkIjoiMjM4IiwiQ29sb3IiOnsiJGlkIjoiMjM5IiwiQSI6MjU1LCJSIjo3MiwiRyI6MTU0LCJCIjo5N319LCJNYXhXaWR0aCI6NTEuNjI1MDM4MTQ2OTcyNjU2LCJNYXhIZWlnaHQiOiJJbmZpbml0eSIsIlNtYXJ0Rm9yZWdyb3VuZElzQWN0aXZlIjpmYWxzZSwiSG9yaXpvbnRhbEFsaWdubWVudCI6MSwiVmVydGljYWxBbGlnbm1lbnQiOjAsIlNtYXJ0Rm9yZWdyb3VuZCI6bnVsbCwiTWFyZ2luIjp7IiRyZWYiOiI2OSJ9LCJQYWRkaW5nIjp7IiRyZWYiOiI3MCJ9LCJCYWNrZ3JvdW5kIjp7IiRyZWYiOiI3MSJ9LCJJc1Zpc2libGUiOnRydWUsIldpZHRoIjowLjAsIkhlaWdodCI6MC4wLCJCb3JkZXJTdHlsZSI6eyIkaWQiOiIyNDAiLCJMaW5lQ29sb3IiOm51bGwsIkxpbmVXZWlnaHQiOjAuMCwiTGluZVR5cGUiOjAsIlBhcmVudFN0eWxlIjpudWxsfSwiUGFyZW50U3R5bGUiOnsiJHJlZiI6IjY1In19LCJEYXRlU3R5bGUiOnsiJGlkIjoiMjQxIiwiRm9udFNldHRpbmdzIjp7IiRpZCI6IjI0MiIsIkZvbnRTaXplIjo4LCJGb250TmFtZSI6IkNhbGlicmkiLCJJc0JvbGQiOmZhbHNlLCJJc0l0YWxpYyI6ZmFsc2UsIklzVW5kZXJsaW5lZCI6ZmFsc2UsIlBhcmVudFN0eWxlIjp7IiRyZWYiOiI3MyJ9fSwiQXV0b1NpemUiOjAsIkZvcmVncm91bmQiOnsiJHJlZiI6Ijc0In0sIk1heFdpZHRoIjoyMDAuMCwiTWF4SGVpZ2h0IjoiSW5maW5pdHkiLCJTbWFydEZvcmVncm91bmRJc0FjdGl2ZSI6ZmFsc2UsIkhvcml6b250YWxBbGlnbm1lbnQiOjAsIlZlcnRpY2FsQWxpZ25tZW50IjowLCJTbWFydEZvcmVncm91bmQiOm51bGwsIk1hcmdpbiI6eyIkcmVmIjoiNzYifSwiUGFkZGluZyI6eyIkcmVmIjoiNzcifSwiQmFja2dyb3VuZCI6eyIkcmVmIjoiNzgifSwiSXNWaXNpYmxlIjpmYWxzZSwiV2lkdGgiOjAuMCwiSGVpZ2h0IjowLjAsIkJvcmRlclN0eWxlIjp7IiRpZCI6IjI0MyIsIkxpbmVDb2xvciI6bnVsbCwiTGluZVdlaWdodCI6MC4wLCJMaW5lVHlwZSI6MCwiUGFyZW50U3R5bGUiOm51bGx9LCJQYXJlbnRTdHlsZSI6eyIkcmVmIjoiNzIifX0sIkRhdGVGb3JtYXQiOnsiJHJlZiI6Ijc5In0sIklzVmlzaWJsZSI6dHJ1ZSwiUGFyZW50U3R5bGUiOnsiJHJlZiI6IjUzIn19LCJQb3NpdGlvbiI6eyIkaWQiOiIyNDQiLCJSYXRpbyI6MC4wNTg2OTIxOTc0NDY0Njk5MDQsIklzQ3VzdG9tIjp0cnVlfSwiSWQiOiI3YjA5OTY0Ni00ZmZkLTRjZDMtYTNiMy04M2FiMWJhMjI0MzgiLCJUaXRsZSI6Ik1pbGVzdG9uZSA2IiwiTm90ZSI6bnVsbCwiSHlwZXJsaW5rIjpudWxsLCJJc0NoYW5nZWQiOmZhbHNlLCJJc05ldyI6dHJ1ZX0seyIkaWQiOiIyNDUiLCJEYXRlIjoiMjAxNi0wMS0zMFQwMDowMDowMFoiLCJTdHlsZSI6eyIkaWQiOiIyNDYiLCJTaGFwZSI6MTMsIkNvbm5lY3Rvck1hcmdpbiI6eyIkcmVmIjoiNTQifSwiQ29ubmVjdG9yU3R5bGUiOnsiJGlkIjoiMjQ3IiwiTGluZUNvbG9yIjp7IiRpZCI6IjI0OCIsIiR0eXBlIjoiTkxSRS5Db21tb24uRG9tLlNvbGlkQ29sb3JCcnVzaCwgTkxSRS5Db21tb24iLCJDb2xvciI6eyIkaWQiOiIyNDkiLCJBIjoyNTUsIlIiOjk4LCJHIjoxODEsIkIiOjEyM319LCJMaW5lV2VpZ2h0IjoxLjAsIkxpbmVUeXBlIjowLCJQYXJlbnRTdHlsZSI6eyIkcmVmIjoiNTUifX0sIklzQmVsb3dUaW1lYmFuZCI6ZmFsc2UsIkhpZGVEYXRlIjpmYWxzZSwiU2hhcGVTaXplIjoyLCJTcGFjaW5nIjowLjAsIlBhZGRpbmciOnsiJGlkIjoiMjUwIiwiVG9wIjowLCJMZWZ0IjowLCJSaWdodCI6MCwiQm90dG9tIjowfSwiU2hhcGVTdHlsZSI6eyIkaWQiOiIyNTEiLCJNYXJnaW4iOnsiJHJlZiI6IjYwIn0sIlBhZGRpbmciOnsiJHJlZiI6IjYxIn0sIkJhY2tncm91bmQiOnsiJGlkIjoiMjUyIiwiQ29sb3IiOnsiJGlkIjoiMjUzIiwiQSI6MjU1LCJSIjo5OCwiRyI6MTgxLCJCIjoxMjN9fSwiSXNWaXNpYmxlIjp0cnVlLCJXaWR0aCI6MjQuMCwiSGVpZ2h0IjoyNi4wLCJCb3JkZXJTdHlsZSI6eyIkaWQiOiIyNTQiLCJMaW5lQ29sb3IiOnsiJHJlZiI6IjYzIn0sIkxpbmVXZWlnaHQiOjAuMCwiTGluZVR5cGUiOjAsIlBhcmVudFN0eWxlIjp7IiRyZWYiOiI2MiJ9fSwiUGFyZW50U3R5bGUiOnsiJHJlZiI6IjU5In19LCJUaXRsZVN0eWxlIjp7IiRpZCI6IjI1NSIsIkZvbnRTZXR0aW5ncyI6eyIkaWQiOiIyNTYiLCJGb250U2l6ZSI6MTAsIkZvbnROYW1lIjoiQ2FsaWJyaSIsIklzQm9sZCI6dHJ1ZSwiSXNJdGFsaWMiOmZhbHNlLCJJc1VuZGVybGluZWQiOmZhbHNlLCJQYXJlbnRTdHlsZSI6eyIkcmVmIjoiNjYifX0sIkF1dG9TaXplIjowLCJGb3JlZ3JvdW5kIjp7IiRpZCI6IjI1NyIsIkNvbG9yIjp7IiRpZCI6IjI1OCIsIkEiOjI1NSwiUiI6NzIsIkciOjE1NCwiQiI6OTd9fSwiTWF4V2lkdGgiOjUxLjYyNTAzODE0Njk3MjY1NiwiTWF4SGVpZ2h0IjoiSW5maW5pdHkiLCJTbWFydEZvcmVncm91bmRJc0FjdGl2ZSI6ZmFsc2UsIkhvcml6b250YWxBbGlnbm1lbnQiOjEsIlZlcnRpY2FsQWxpZ25tZW50IjowLCJTbWFydEZvcmVncm91bmQiOm51bGwsIk1hcmdpbiI6eyIkcmVmIjoiNjkifSwiUGFkZGluZyI6eyIkcmVmIjoiNzAifSwiQmFja2dyb3VuZCI6eyIkcmVmIjoiNzEifSwiSXNWaXNpYmxlIjp0cnVlLCJXaWR0aCI6MC4wLCJIZWlnaHQiOjAuMCwiQm9yZGVyU3R5bGUiOnsiJGlkIjoiMjU5IiwiTGluZUNvbG9yIjpudWxsLCJMaW5lV2VpZ2h0IjowLjAsIkxpbmVUeXBlIjowLCJQYXJlbnRTdHlsZSI6bnVsbH0sIlBhcmVudFN0eWxlIjp7IiRyZWYiOiI2NSJ9fSwiRGF0ZVN0eWxlIjp7IiRpZCI6IjI2MCIsIkZvbnRTZXR0aW5ncyI6eyIkaWQiOiIyNjEiLCJGb250U2l6ZSI6MTAsIkZvbnROYW1lIjoiQ2FsaWJyaSIsIklzQm9sZCI6ZmFsc2UsIklzSXRhbGljIjpmYWxzZSwiSXNVbmRlcmxpbmVkIjpmYWxzZSwiUGFyZW50U3R5bGUiOnsiJHJlZiI6IjczIn19LCJBdXRvU2l6ZSI6MCwiRm9yZWdyb3VuZCI6eyIkaWQiOiIyNjIiLCJDb2xvciI6eyIkaWQiOiIyNjMiLCJBIjoyNTUsIlIiOjEyNywiRyI6MTI3LCJCIjoxMjd9fSwiTWF4V2lkdGgiOjIwMC4wLCJNYXhIZWlnaHQiOiJJbmZpbml0eSIsIlNtYXJ0Rm9yZWdyb3VuZElzQWN0aXZlIjpmYWxzZSwiSG9yaXpvbnRhbEFsaWdubWVudCI6MCwiVmVydGljYWxBbGlnbm1lbnQiOjAsIlNtYXJ0Rm9yZWdyb3VuZCI6bnVsbCwiTWFyZ2luIjp7IiRyZWYiOiI3NiJ9LCJQYWRkaW5nIjp7IiRyZWYiOiI3NyJ9LCJCYWNrZ3JvdW5kIjp7IiRyZWYiOiI3OCJ9LCJJc1Zpc2libGUiOnRydWUsIldpZHRoIjowLjAsIkhlaWdodCI6MC4wLCJCb3JkZXJTdHlsZSI6eyIkaWQiOiIyNjQiLCJMaW5lQ29sb3IiOm51bGwsIkxpbmVXZWlnaHQiOjAuMCwiTGluZVR5cGUiOjAsIlBhcmVudFN0eWxlIjpudWxsfSwiUGFyZW50U3R5bGUiOnsiJHJlZiI6IjcyIn19LCJEYXRlRm9ybWF0Ijp7IiRyZWYiOiI3OSJ9LCJJc1Zpc2libGUiOnRydWUsIlBhcmVudFN0eWxlIjp7IiRyZWYiOiI1MyJ9fSwiUG9zaXRpb24iOnsiJGlkIjoiMjY1IiwiUmF0aW8iOjAuMDkxNzY1MjI3MTQxMjAzNywiSXNDdXN0b20iOnRydWV9LCJJZCI6IjdmNTgzZGUwLTg1NGEtNGNhYy1iODk4LTM3ZjNhMzc5YmI0YSIsIlRpdGxlIjoiTWlsZXN0b25lIDciLCJOb3RlIjpudWxsLCJIeXBlcmxpbmsiOm51bGwsIklzQ2hhbmdlZCI6ZmFsc2UsIklzTmV3Ijp0cnVlfV0sIlRhc2tzIjpbeyIkaWQiOiIyNjYiLCJHcm91cE5hbWUiOm51bGwsIlN0YXJ0RGF0ZSI6IjIwMTUtMDctMjVUMDA6MDA6MDBaIiwiRW5kRGF0ZSI6IjIwMTUtMDgtMDFUMjM6NTk6NTlaIiwiUGVyY2VudGFnZUNvbXBsZXRlIjpudWxsLCJTdHlsZSI6eyIkaWQiOiIyNjciLCJTaGFwZSI6MiwiU2hhcGVUaGlja25lc3MiOjEsIkR1cmF0aW9uRm9ybWF0IjowLCJJbmNsdWRlTm9uV29ya2luZ0RheXNJbkR1cmF0aW9uIjpmYWxzZSwiUGVyY2VudGFnZUNvbXBsZXRlU3R5bGUiOnsiJGlkIjoiMjY4IiwiRm9udFNldHRpbmdzIjp7IiRpZCI6IjI2OS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3MCIsIkxpbmVDb2xvciI6bnVsbCwiTGluZVdlaWdodCI6MC4wLCJMaW5lVHlwZSI6MCwiUGFyZW50U3R5bGUiOm51bGx9LCJQYXJlbnRTdHlsZSI6eyIkcmVmIjoiODEifX0sIkR1cmF0aW9uU3R5bGUiOnsiJGlkIjoiMjcxIiwiRm9udFNldHRpbmdzIjp7IiRpZCI6IjI3MiIsIkZvbnRTaXplIjoxMCwiRm9udE5hbWUiOiJDYWxpYnJpIiwiSXNCb2xkIjpmYWxzZSwiSXNJdGFsaWMiOmZhbHNlLCJJc1VuZGVybGluZWQiOmZhbHNlLCJQYXJlbnRTdHlsZSI6eyIkcmVmIjoiODkifX0sIkF1dG9TaXplIjowLCJGb3JlZ3JvdW5kIjp7IiRpZCI6IjI3MyIsIkNvbG9yIjp7IiRpZCI6IjI3NCIsIkEiOjI1NSwiUiI6MTkyLCJHIjo4MCwiQiI6Nzd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yNzUiLCJMaW5lQ29sb3IiOm51bGwsIkxpbmVXZWlnaHQiOjAuMCwiTGluZVR5cGUiOjAsIlBhcmVudFN0eWxlIjpudWxsfSwiUGFyZW50U3R5bGUiOnsiJHJlZiI6Ijg4In19LCJIb3Jpem9udGFsQ29ubmVjdG9yU3R5bGUiOnsiJGlkIjoiMjc2IiwiTGluZUNvbG9yIjp7IiRyZWYiOiI5NiJ9LCJMaW5lV2VpZ2h0IjowLjAsIkxpbmVUeXBlIjowLCJQYXJlbnRTdHlsZSI6eyIkcmVmIjoiOTUifX0sIlZlcnRpY2FsQ29ubmVjdG9yU3R5bGUiOnsiJGlkIjoiMjc3IiwiTGluZUNvbG9yIjp7IiRyZWYiOiI5OSJ9LCJMaW5lV2VpZ2h0IjowLjAsIkxpbmVUeXBlIjowLCJQYXJlbnRTdHlsZSI6eyIkcmVmIjoiOTgifX0sIk1hcmdpbiI6bnVsbCwiU3RhcnREYXRlUG9zaXRpb24iOjQsIkVuZERhdGVQb3NpdGlvbiI6NCwiVGl0bGVQb3NpdGlvbiI6MywiRHVyYXRpb25Qb3NpdGlvbiI6NiwiUGVyY2VudGFnZUNvbXBsZXRlZFBvc2l0aW9uIjo2LCJTcGFjaW5nIjo1LCJJc0JlbG93VGltZWJhbmQiOnRydWUsIlBlcmNlbnRhZ2VDb21wbGV0ZVNoYXBlT3BhY2l0eSI6MzUsIlNoYXBlU3R5bGUiOnsiJGlkIjoiMjc4IiwiTWFyZ2luIjp7IiRyZWYiOiIxMDIifSwiUGFkZGluZyI6eyIkcmVmIjoiMTAzIn0sIkJhY2tncm91bmQiOnsiJGlkIjoiMjc5IiwiQ29sb3IiOnsiJGlkIjoiMjgwIiwiQSI6MjU1LCJSIjo4LCJHIjoxMjcsIkIiOjE5NX19LCJJc1Zpc2libGUiOnRydWUsIldpZHRoIjowLjAsIkhlaWdodCI6MTYuMCwiQm9yZGVyU3R5bGUiOnsiJGlkIjoiMjgxIiwiTGluZUNvbG9yIjp7IiRpZCI6IjI4MiIsIiR0eXBlIjoiTkxSRS5Db21tb24uRG9tLlNvbGlkQ29sb3JCcnVzaCwgTkxSRS5Db21tb24iLCJDb2xvciI6eyIkaWQiOiIyODMiLCJBIjoyNTUsIlIiOjI1NSwiRyI6MCwiQiI6MH19LCJMaW5lV2VpZ2h0IjowLjAsIkxpbmVUeXBlIjowLCJQYXJlbnRTdHlsZSI6bnVsbH0sIlBhcmVudFN0eWxlIjp7IiRyZWYiOiIxMDEifX0sIlRpdGxlU3R5bGUiOnsiJGlkIjoiMjg0IiwiRm9udFNldHRpbmdzIjp7IiRpZCI6IjI4NSIsIkZvbnRTaXplIjoxMCwiRm9udE5hbWUiOiJDYWxpYnJpIiwiSXNCb2xkIjp0cnVlLCJJc0l0YWxpYyI6ZmFsc2UsIklzVW5kZXJsaW5lZCI6ZmFsc2UsIlBhcmVudFN0eWxlIjp7IiRyZWYiOiIxMDgifX0sIkF1dG9TaXplIjowLCJGb3JlZ3JvdW5kIjp7IiRpZCI6IjI4NiIsIkNvbG9yIjp7IiRpZCI6IjI4NyIsIkEiOjI1NSwiUiI6MCwiRyI6MTEyLCJCIjoxOTJ9fSwiTWF4V2lkdGgiOjUwLjg2NzAwODIwOTIyODUxNi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jg4IiwiTGluZUNvbG9yIjpudWxsLCJMaW5lV2VpZ2h0IjowLjAsIkxpbmVUeXBlIjowLCJQYXJlbnRTdHlsZSI6bnVsbH0sIlBhcmVudFN0eWxlIjp7IiRyZWYiOiIxMDcifX0sIkRhdGVTdHlsZSI6eyIkaWQiOiIyODkiLCJGb250U2V0dGluZ3MiOnsiJGlkIjoiMjkwIiwiRm9udFNpemUiOjEwLCJGb250TmFtZSI6IkNhbGlicmkiLCJJc0JvbGQiOmZhbHNlLCJJc0l0YWxpYyI6ZmFsc2UsIklzVW5kZXJsaW5lZCI6ZmFsc2UsIlBhcmVudFN0eWxlIjp7IiRyZWYiOiIxMTUifX0sIkF1dG9TaXplIjowLCJGb3JlZ3JvdW5kIjp7IiRpZCI6IjI5MSIsIkNvbG9yIjp7IiRpZCI6IjI5MiIsIkEiOjI1NSwiUiI6MTI3LCJHIjoxMjcsIkIiOjEyN3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I5MyIsIkxpbmVDb2xvciI6bnVsbCwiTGluZVdlaWdodCI6MC4wLCJMaW5lVHlwZSI6MCwiUGFyZW50U3R5bGUiOm51bGx9LCJQYXJlbnRTdHlsZSI6eyIkcmVmIjoiMTE0In19LCJEYXRlRm9ybWF0Ijp7IiRpZCI6IjI5NCIsIkZvcm1hdFN0cmluZyI6Ik1NTSBkIiwiU2VwYXJhdG9yIjoiLyIsIlVzZUludGVybmF0aW9uYWxEYXRlRm9ybWF0IjpmYWxzZX0sIklzVmlzaWJsZSI6dHJ1ZSwiUGFyZW50U3R5bGUiOnsiJHJlZiI6IjgwIn19LCJJbmRleCI6MCwiSWQiOiI3YzUxOGZiMy03ZjIxLTQyYmItOGUwNC00NTkyMGQwNDAzYjUiLCJUaXRsZSI6IlRhc2sgMSBIZXJlIiwiTm90ZSI6bnVsbCwiSHlwZXJsaW5rIjpudWxsLCJJc0NoYW5nZWQiOmZhbHNlLCJJc05ldyI6dHJ1ZX0seyIkaWQiOiIyOTUiLCJHcm91cE5hbWUiOm51bGwsIlN0YXJ0RGF0ZSI6IjIwMTUtMDgtMTVUMDA6MDA6MDBaIiwiRW5kRGF0ZSI6IjIwMTUtMDktMDdUMjM6NTk6NTlaIiwiUGVyY2VudGFnZUNvbXBsZXRlIjpudWxsLCJTdHlsZSI6eyIkaWQiOiIyOTYiLCJTaGFwZSI6MiwiU2hhcGVUaGlja25lc3MiOjEsIkR1cmF0aW9uRm9ybWF0IjowLCJJbmNsdWRlTm9uV29ya2luZ0RheXNJbkR1cmF0aW9uIjpmYWxzZSwiUGVyY2VudGFnZUNvbXBsZXRlU3R5bGUiOnsiJGlkIjoiMjk3IiwiRm9udFNldHRpbmdzIjp7IiRpZCI6IjI5OC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I5OSIsIkxpbmVDb2xvciI6bnVsbCwiTGluZVdlaWdodCI6MC4wLCJMaW5lVHlwZSI6MCwiUGFyZW50U3R5bGUiOm51bGx9LCJQYXJlbnRTdHlsZSI6eyIkcmVmIjoiODEifX0sIkR1cmF0aW9uU3R5bGUiOnsiJGlkIjoiMzAwIiwiRm9udFNldHRpbmdzIjp7IiRpZCI6IjMwMSIsIkZvbnRTaXplIjoxMCwiRm9udE5hbWUiOiJDYWxpYnJpIiwiSXNCb2xkIjpmYWxzZSwiSXNJdGFsaWMiOmZhbHNlLCJJc1VuZGVybGluZWQiOmZhbHNlLCJQYXJlbnRTdHlsZSI6eyIkcmVmIjoiODkifX0sIkF1dG9TaXplIjowLCJGb3JlZ3JvdW5kIjp7IiRpZCI6IjMwMiIsIkNvbG9yIjp7IiRpZCI6IjMwMyIsIkEiOjI1NSwiUiI6MTkyLCJHIjo4MCwiQiI6Nzd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zMDQiLCJMaW5lQ29sb3IiOm51bGwsIkxpbmVXZWlnaHQiOjAuMCwiTGluZVR5cGUiOjAsIlBhcmVudFN0eWxlIjpudWxsfSwiUGFyZW50U3R5bGUiOnsiJHJlZiI6Ijg4In19LCJIb3Jpem9udGFsQ29ubmVjdG9yU3R5bGUiOnsiJGlkIjoiMzA1IiwiTGluZUNvbG9yIjp7IiRyZWYiOiI5NiJ9LCJMaW5lV2VpZ2h0IjowLjAsIkxpbmVUeXBlIjowLCJQYXJlbnRTdHlsZSI6eyIkcmVmIjoiOTUifX0sIlZlcnRpY2FsQ29ubmVjdG9yU3R5bGUiOnsiJGlkIjoiMzA2IiwiTGluZUNvbG9yIjp7IiRyZWYiOiI5OSJ9LCJMaW5lV2VpZ2h0IjowLjAsIkxpbmVUeXBlIjowLCJQYXJlbnRTdHlsZSI6eyIkcmVmIjoiOTgifX0sIk1hcmdpbiI6bnVsbCwiU3RhcnREYXRlUG9zaXRpb24iOjQsIkVuZERhdGVQb3NpdGlvbiI6NCwiVGl0bGVQb3NpdGlvbiI6MywiRHVyYXRpb25Qb3NpdGlvbiI6NiwiUGVyY2VudGFnZUNvbXBsZXRlZFBvc2l0aW9uIjo2LCJTcGFjaW5nIjo1LCJJc0JlbG93VGltZWJhbmQiOnRydWUsIlBlcmNlbnRhZ2VDb21wbGV0ZVNoYXBlT3BhY2l0eSI6MzUsIlNoYXBlU3R5bGUiOnsiJGlkIjoiMzA3IiwiTWFyZ2luIjp7IiRyZWYiOiIxMDIifSwiUGFkZGluZyI6eyIkcmVmIjoiMTAzIn0sIkJhY2tncm91bmQiOnsiJGlkIjoiMzA4IiwiQ29sb3IiOnsiJGlkIjoiMzA5IiwiQSI6MjU1LCJSIjoyMTAsIkciOjcxLCJCIjozOH19LCJJc1Zpc2libGUiOnRydWUsIldpZHRoIjowLjAsIkhlaWdodCI6MTYuMCwiQm9yZGVyU3R5bGUiOnsiJGlkIjoiMzEwIiwiTGluZUNvbG9yIjp7IiRpZCI6IjMxMSIsIiR0eXBlIjoiTkxSRS5Db21tb24uRG9tLlNvbGlkQ29sb3JCcnVzaCwgTkxSRS5Db21tb24iLCJDb2xvciI6eyIkaWQiOiIzMTIiLCJBIjoyNTUsIlIiOjI1NSwiRyI6MCwiQiI6MH19LCJMaW5lV2VpZ2h0IjowLjAsIkxpbmVUeXBlIjowLCJQYXJlbnRTdHlsZSI6bnVsbH0sIlBhcmVudFN0eWxlIjp7IiRyZWYiOiIxMDEifX0sIlRpdGxlU3R5bGUiOnsiJGlkIjoiMzEzIiwiRm9udFNldHRpbmdzIjp7IiRpZCI6IjMxNCIsIkZvbnRTaXplIjoxMCwiRm9udE5hbWUiOiJDYWxpYnJpIiwiSXNCb2xkIjp0cnVlLCJJc0l0YWxpYyI6ZmFsc2UsIklzVW5kZXJsaW5lZCI6ZmFsc2UsIlBhcmVudFN0eWxlIjp7IiRyZWYiOiIxMDgifX0sIkF1dG9TaXplIjowLCJGb3JlZ3JvdW5kIjp7IiRpZCI6IjMxNSIsIkNvbG9yIjp7IiRpZCI6IjMxNiIsIkEiOjI1NSwiUiI6MjEwLCJHIjo3MSwiQiI6Mzh9fSwiTWF4V2lkdGgiOjUxLjQ5ODAzMTYxNjIxMDkzOC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zE3IiwiTGluZUNvbG9yIjpudWxsLCJMaW5lV2VpZ2h0IjowLjAsIkxpbmVUeXBlIjowLCJQYXJlbnRTdHlsZSI6bnVsbH0sIlBhcmVudFN0eWxlIjp7IiRyZWYiOiIxMDcifX0sIkRhdGVTdHlsZSI6eyIkaWQiOiIzMTgiLCJGb250U2V0dGluZ3MiOnsiJGlkIjoiMzE5IiwiRm9udFNpemUiOjEwLCJGb250TmFtZSI6IkNhbGlicmkiLCJJc0JvbGQiOmZhbHNlLCJJc0l0YWxpYyI6ZmFsc2UsIklzVW5kZXJsaW5lZCI6ZmFsc2UsIlBhcmVudFN0eWxlIjp7IiRyZWYiOiIxMTUifX0sIkF1dG9TaXplIjowLCJGb3JlZ3JvdW5kIjp7IiRpZCI6IjMyMCIsIkNvbG9yIjp7IiRpZCI6IjMyMSIsIkEiOjI1NSwiUiI6MTI3LCJHIjoxMjcsIkIiOjEyN3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yMiIsIkxpbmVDb2xvciI6bnVsbCwiTGluZVdlaWdodCI6MC4wLCJMaW5lVHlwZSI6MCwiUGFyZW50U3R5bGUiOm51bGx9LCJQYXJlbnRTdHlsZSI6eyIkcmVmIjoiMTE0In19LCJEYXRlRm9ybWF0Ijp7IiRpZCI6IjMyMyIsIkZvcm1hdFN0cmluZyI6Ik1NTSBkIiwiU2VwYXJhdG9yIjoiLyIsIlVzZUludGVybmF0aW9uYWxEYXRlRm9ybWF0IjpmYWxzZX0sIklzVmlzaWJsZSI6dHJ1ZSwiUGFyZW50U3R5bGUiOnsiJHJlZiI6IjgwIn19LCJJbmRleCI6MCwiSWQiOiJiZTNhZTM4Zi02MGIzLTQwMmQtOGExMy1mMWU5MWVlYzQxZjUiLCJUaXRsZSI6IlRhc2sgMiBIZXJlIiwiTm90ZSI6bnVsbCwiSHlwZXJsaW5rIjpudWxsLCJJc0NoYW5nZWQiOmZhbHNlLCJJc05ldyI6dHJ1ZX0seyIkaWQiOiIzMjQiLCJHcm91cE5hbWUiOm51bGwsIlN0YXJ0RGF0ZSI6IjIwMTUtMDgtMTVUMDA6MDA6MDBaIiwiRW5kRGF0ZSI6IjIwMTUtMDktMTdUMjM6NTk6NTlaIiwiUGVyY2VudGFnZUNvbXBsZXRlIjpudWxsLCJTdHlsZSI6eyIkaWQiOiIzMjUiLCJTaGFwZSI6MiwiU2hhcGVUaGlja25lc3MiOjEsIkR1cmF0aW9uRm9ybWF0IjowLCJJbmNsdWRlTm9uV29ya2luZ0RheXNJbkR1cmF0aW9uIjpmYWxzZSwiUGVyY2VudGFnZUNvbXBsZXRlU3R5bGUiOnsiJGlkIjoiMzI2IiwiRm9udFNldHRpbmdzIjp7IiRpZCI6IjMyNy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yOCIsIkxpbmVDb2xvciI6bnVsbCwiTGluZVdlaWdodCI6MC4wLCJMaW5lVHlwZSI6MCwiUGFyZW50U3R5bGUiOm51bGx9LCJQYXJlbnRTdHlsZSI6eyIkcmVmIjoiODEifX0sIkR1cmF0aW9uU3R5bGUiOnsiJGlkIjoiMzI5IiwiRm9udFNldHRpbmdzIjp7IiRpZCI6IjMzMCIsIkZvbnRTaXplIjoxMCwiRm9udE5hbWUiOiJDYWxpYnJpIiwiSXNCb2xkIjpmYWxzZSwiSXNJdGFsaWMiOmZhbHNlLCJJc1VuZGVybGluZWQiOmZhbHNlLCJQYXJlbnRTdHlsZSI6eyIkcmVmIjoiODkifX0sIkF1dG9TaXplIjowLCJGb3JlZ3JvdW5kIjp7IiRpZCI6IjMzMSIsIkNvbG9yIjp7IiRpZCI6IjMzMiIsIkEiOjI1NSwiUiI6MTkyLCJHIjo4MCwiQiI6Nzd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zMzMiLCJMaW5lQ29sb3IiOm51bGwsIkxpbmVXZWlnaHQiOjAuMCwiTGluZVR5cGUiOjAsIlBhcmVudFN0eWxlIjpudWxsfSwiUGFyZW50U3R5bGUiOnsiJHJlZiI6Ijg4In19LCJIb3Jpem9udGFsQ29ubmVjdG9yU3R5bGUiOnsiJGlkIjoiMzM0IiwiTGluZUNvbG9yIjp7IiRyZWYiOiI5NiJ9LCJMaW5lV2VpZ2h0IjowLjAsIkxpbmVUeXBlIjowLCJQYXJlbnRTdHlsZSI6eyIkcmVmIjoiOTUifX0sIlZlcnRpY2FsQ29ubmVjdG9yU3R5bGUiOnsiJGlkIjoiMzM1IiwiTGluZUNvbG9yIjp7IiRyZWYiOiI5OSJ9LCJMaW5lV2VpZ2h0IjowLjAsIkxpbmVUeXBlIjowLCJQYXJlbnRTdHlsZSI6eyIkcmVmIjoiOTgifX0sIk1hcmdpbiI6bnVsbCwiU3RhcnREYXRlUG9zaXRpb24iOjQsIkVuZERhdGVQb3NpdGlvbiI6NCwiVGl0bGVQb3NpdGlvbiI6MywiRHVyYXRpb25Qb3NpdGlvbiI6NiwiUGVyY2VudGFnZUNvbXBsZXRlZFBvc2l0aW9uIjo2LCJTcGFjaW5nIjo1LCJJc0JlbG93VGltZWJhbmQiOnRydWUsIlBlcmNlbnRhZ2VDb21wbGV0ZVNoYXBlT3BhY2l0eSI6MzUsIlNoYXBlU3R5bGUiOnsiJGlkIjoiMzM2IiwiTWFyZ2luIjp7IiRyZWYiOiIxMDIifSwiUGFkZGluZyI6eyIkcmVmIjoiMTAzIn0sIkJhY2tncm91bmQiOnsiJGlkIjoiMzM3IiwiQ29sb3IiOnsiJGlkIjoiMzM4IiwiQSI6MjU1LCJSIjoyMTAsIkciOjcxLCJCIjozOH19LCJJc1Zpc2libGUiOnRydWUsIldpZHRoIjowLjAsIkhlaWdodCI6MTYuMCwiQm9yZGVyU3R5bGUiOnsiJGlkIjoiMzM5IiwiTGluZUNvbG9yIjp7IiRpZCI6IjM0MCIsIiR0eXBlIjoiTkxSRS5Db21tb24uRG9tLlNvbGlkQ29sb3JCcnVzaCwgTkxSRS5Db21tb24iLCJDb2xvciI6eyIkaWQiOiIzNDEiLCJBIjoyNTUsIlIiOjI1NSwiRyI6MCwiQiI6MH19LCJMaW5lV2VpZ2h0IjowLjAsIkxpbmVUeXBlIjowLCJQYXJlbnRTdHlsZSI6bnVsbH0sIlBhcmVudFN0eWxlIjp7IiRyZWYiOiIxMDEifX0sIlRpdGxlU3R5bGUiOnsiJGlkIjoiMzQyIiwiRm9udFNldHRpbmdzIjp7IiRpZCI6IjM0MyIsIkZvbnRTaXplIjoxMCwiRm9udE5hbWUiOiJDYWxpYnJpIiwiSXNCb2xkIjp0cnVlLCJJc0l0YWxpYyI6ZmFsc2UsIklzVW5kZXJsaW5lZCI6ZmFsc2UsIlBhcmVudFN0eWxlIjp7IiRyZWYiOiIxMDgifX0sIkF1dG9TaXplIjowLCJGb3JlZ3JvdW5kIjp7IiRpZCI6IjM0NCIsIkNvbG9yIjp7IiRpZCI6IjM0NSIsIkEiOjI1NSwiUiI6MjEwLCJHIjo3MSwiQiI6Mzh9fSwiTWF4V2lkdGgiOjUwLjg2NzAwODIwOTIyODUxNiwiTWF4SGVpZ2h0IjoiSW5maW5pdHkiLCJTbWFydEZvcmVncm91bmRJc0FjdGl2ZSI6ZmFsc2UsIkhvcml6b250YWxBbGlnbm1lbnQiOjIsIlZlcnRpY2FsQWxpZ25tZW50IjowLCJTbWFydEZvcmVncm91bmQiOm51bGwsIk1hcmdpbiI6eyIkcmVmIjoiMTExIn0sIlBhZGRpbmciOnsiJHJlZiI6IjExMiJ9LCJCYWNrZ3JvdW5kIjp7IiRyZWYiOiIxMTMifSwiSXNWaXNpYmxlIjp0cnVlLCJXaWR0aCI6MC4wLCJIZWlnaHQiOjAuMCwiQm9yZGVyU3R5bGUiOnsiJGlkIjoiMzQ2IiwiTGluZUNvbG9yIjpudWxsLCJMaW5lV2VpZ2h0IjowLjAsIkxpbmVUeXBlIjowLCJQYXJlbnRTdHlsZSI6bnVsbH0sIlBhcmVudFN0eWxlIjp7IiRyZWYiOiIxMDcifX0sIkRhdGVTdHlsZSI6eyIkaWQiOiIzNDciLCJGb250U2V0dGluZ3MiOnsiJGlkIjoiMzQ4IiwiRm9udFNpemUiOjEwLCJGb250TmFtZSI6IkNhbGlicmkiLCJJc0JvbGQiOmZhbHNlLCJJc0l0YWxpYyI6ZmFsc2UsIklzVW5kZXJsaW5lZCI6ZmFsc2UsIlBhcmVudFN0eWxlIjp7IiRyZWYiOiIxMTUifX0sIkF1dG9TaXplIjowLCJGb3JlZ3JvdW5kIjp7IiRpZCI6IjM0OSIsIkNvbG9yIjp7IiRpZCI6IjM1MCIsIkEiOjI1NSwiUiI6MTI3LCJHIjoxMjcsIkIiOjEyN319LCJNYXhXaWR0aCI6MjAwLjAsIk1heEhlaWdodCI6IkluZmluaXR5IiwiU21hcnRGb3JlZ3JvdW5kSXNBY3RpdmUiOmZhbHNlLCJIb3Jpem9udGFsQWxpZ25tZW50IjowLCJWZXJ0aWNhbEFsaWdubWVudCI6MCwiU21hcnRGb3JlZ3JvdW5kIjpudWxsLCJNYXJnaW4iOnsiJHJlZiI6IjExOCJ9LCJQYWRkaW5nIjp7IiRyZWYiOiIxMTkifSwiQmFja2dyb3VuZCI6eyIkcmVmIjoiMTIwIn0sIklzVmlzaWJsZSI6dHJ1ZSwiV2lkdGgiOjAuMCwiSGVpZ2h0IjowLjAsIkJvcmRlclN0eWxlIjp7IiRpZCI6IjM1MSIsIkxpbmVDb2xvciI6bnVsbCwiTGluZVdlaWdodCI6MC4wLCJMaW5lVHlwZSI6MCwiUGFyZW50U3R5bGUiOm51bGx9LCJQYXJlbnRTdHlsZSI6eyIkcmVmIjoiMTE0In19LCJEYXRlRm9ybWF0Ijp7IiRpZCI6IjM1MiIsIkZvcm1hdFN0cmluZyI6Ik1NTSBkIiwiU2VwYXJhdG9yIjoiLyIsIlVzZUludGVybmF0aW9uYWxEYXRlRm9ybWF0IjpmYWxzZX0sIklzVmlzaWJsZSI6dHJ1ZSwiUGFyZW50U3R5bGUiOnsiJHJlZiI6IjgwIn19LCJJbmRleCI6MCwiSWQiOiI5YWExODNkNi01ZGYyLTRiMGMtOGZlYy1kMGEwMDI0NzE1ODMiLCJUaXRsZSI6IlRhc2sgMyBIZXJlIiwiTm90ZSI6bnVsbCwiSHlwZXJsaW5rIjpudWxsLCJJc0NoYW5nZWQiOmZhbHNlLCJJc05ldyI6dHJ1ZX0seyIkaWQiOiIzNTMiLCJHcm91cE5hbWUiOm51bGwsIlN0YXJ0RGF0ZSI6IjIwMTUtMDktMDhUMDA6MDA6MDBaIiwiRW5kRGF0ZSI6IjIwMTUtMDktMzBUMjM6NTk6NTlaIiwiUGVyY2VudGFnZUNvbXBsZXRlIjpudWxsLCJTdHlsZSI6eyIkaWQiOiIzNTQiLCJTaGFwZSI6MiwiU2hhcGVUaGlja25lc3MiOjEsIkR1cmF0aW9uRm9ybWF0IjowLCJJbmNsdWRlTm9uV29ya2luZ0RheXNJbkR1cmF0aW9uIjpmYWxzZSwiUGVyY2VudGFnZUNvbXBsZXRlU3R5bGUiOnsiJGlkIjoiMzU1IiwiRm9udFNldHRpbmdzIjp7IiRpZCI6IjM1NiIsIkZvbnRTaXplIjoxMCwiRm9udE5hbWUiOiJDYWxpYnJpIiwiSXNCb2xkIjpmYWxzZSwiSXNJdGFsaWMiOmZhbHNlLCJJc1VuZGVybGluZWQiOmZhbHNlLCJQYXJlbnRTdHlsZSI6eyIkcmVmIjoiODIifX0sIkF1dG9TaXplIjowLCJGb3JlZ3JvdW5kIjp7IiRyZWYiOiI4MyJ9LCJNYXhXaWR0aCI6MjAwLjAsIk1heEhlaWdodCI6IkluZmluaXR5IiwiU21hcnRGb3JlZ3JvdW5kSXNBY3RpdmUiOmZhbHNlLCJIb3Jpem9udGFsQWxpZ25tZW50IjowLCJWZXJ0aWNhbEFsaWdubWVudCI6MCwiU21hcnRGb3JlZ3JvdW5kIjpudWxsLCJNYXJnaW4iOnsiJHJlZiI6Ijg1In0sIlBhZGRpbmciOnsiJHJlZiI6Ijg2In0sIkJhY2tncm91bmQiOnsiJHJlZiI6Ijg3In0sIklzVmlzaWJsZSI6dHJ1ZSwiV2lkdGgiOjAuMCwiSGVpZ2h0IjowLjAsIkJvcmRlclN0eWxlIjp7IiRpZCI6IjM1NyIsIkxpbmVDb2xvciI6bnVsbCwiTGluZVdlaWdodCI6MC4wLCJMaW5lVHlwZSI6MCwiUGFyZW50U3R5bGUiOm51bGx9LCJQYXJlbnRTdHlsZSI6eyIkcmVmIjoiODEifX0sIkR1cmF0aW9uU3R5bGUiOnsiJGlkIjoiMzU4IiwiRm9udFNldHRpbmdzIjp7IiRpZCI6IjM1OSIsIkZvbnRTaXplIjoxMCwiRm9udE5hbWUiOiJDYWxpYnJpIiwiSXNCb2xkIjpmYWxzZSwiSXNJdGFsaWMiOmZhbHNlLCJJc1VuZGVybGluZWQiOmZhbHNlLCJQYXJlbnRTdHlsZSI6eyIkcmVmIjoiODkifX0sIkF1dG9TaXplIjowLCJGb3JlZ3JvdW5kIjp7IiRpZCI6IjM2MCIsIkNvbG9yIjp7IiRpZCI6IjM2MSIsIkEiOjI1NSwiUiI6MTkyLCJHIjo4MCwiQiI6Nzd9fSwiTWF4V2lkdGgiOjIwMC4wLCJNYXhIZWlnaHQiOiJJbmZpbml0eSIsIlNtYXJ0Rm9yZWdyb3VuZElzQWN0aXZlIjpmYWxzZSwiSG9yaXpvbnRhbEFsaWdubWVudCI6MCwiVmVydGljYWxBbGlnbm1lbnQiOjAsIlNtYXJ0Rm9yZWdyb3VuZCI6bnVsbCwiTWFyZ2luIjp7IiRyZWYiOiI5MiJ9LCJQYWRkaW5nIjp7IiRyZWYiOiI5MyJ9LCJCYWNrZ3JvdW5kIjp7IiRyZWYiOiI5NCJ9LCJJc1Zpc2libGUiOnRydWUsIldpZHRoIjowLjAsIkhlaWdodCI6MC4wLCJCb3JkZXJTdHlsZSI6eyIkaWQiOiIzNjIiLCJMaW5lQ29sb3IiOm51bGwsIkxpbmVXZWlnaHQiOjAuMCwiTGluZVR5cGUiOjAsIlBhcmVudFN0eWxlIjpudWxsfSwiUGFyZW50U3R5bGUiOnsiJHJlZiI6Ijg4In19LCJIb3Jpem9udGFsQ29ubmVjdG9yU3R5bGUiOnsiJGlkIjoiMzYzIiwiTGluZUNvbG9yIjp7IiRyZWYiOiI5NiJ9LCJMaW5lV2VpZ2h0IjowLjAsIkxpbmVUeXBlIjowLCJQYXJlbnRTdHlsZSI6eyIkcmVmIjoiOTUifX0sIlZlcnRpY2FsQ29ubmVjdG9yU3R5bGUiOnsiJGlkIjoiMzY0IiwiTGluZUNvbG9yIjp7IiRyZWYiOiI5OSJ9LCJMaW5lV2VpZ2h0IjowLjAsIkxpbmVUeXBlIjowLCJQYXJlbnRTdHlsZSI6eyIkcmVmIjoiOTgifX0sIk1hcmdpbiI6bnVsbCwiU3RhcnREYXRlUG9zaXRpb24iOjQsIkVuZERhdGVQb3NpdGlvbiI6NCwiVGl0bGVQb3NpdGlvbiI6MywiRHVyYXRpb25Qb3NpdGlvbiI6NiwiUGVyY2VudGFnZUNvbXBsZXRlZFBvc2l0aW9uIjo2LCJTcGFjaW5nIjo1LCJJc0JlbG93VGltZWJhbmQiOnRydWUsIlBlcmNlbnRhZ2VDb21wbGV0ZVNoYXBlT3BhY2l0eSI6MzUsIlNoYXBlU3R5bGUiOnsiJGlkIjoiMzY1IiwiTWFyZ2luIjp7IiRyZWYiOiIxMDIifSwiUGFkZGluZyI6eyIkcmVmIjoiMTAzIn0sIkJhY2tncm91bmQiOnsiJGlkIjoiMzY2IiwiQ29sb3IiOnsiJGlkIjoiMzY3IiwiQSI6MjU1LCJSIjo5OCwiRyI6MTgxLCJCIjoxMjN9fSwiSXNWaXNpYmxlIjp0cnVlLCJXaWR0aCI6MC4wLCJIZWlnaHQiOjE2LjAsIkJvcmRlclN0eWxlIjp7IiRpZCI6IjM2OCIsIkxpbmVDb2xvciI6eyIkaWQiOiIzNjkiLCIkdHlwZSI6Ik5MUkUuQ29tbW9uLkRvbS5Tb2xpZENvbG9yQnJ1c2gsIE5MUkUuQ29tbW9uIiwiQ29sb3IiOnsiJGlkIjoiMzcwIiwiQSI6MjU1LCJSIjoyNTUsIkciOjAsIkIiOjB9fSwiTGluZVdlaWdodCI6MC4wLCJMaW5lVHlwZSI6MCwiUGFyZW50U3R5bGUiOm51bGx9LCJQYXJlbnRTdHlsZSI6eyIkcmVmIjoiMTAxIn19LCJUaXRsZVN0eWxlIjp7IiRpZCI6IjM3MSIsIkZvbnRTZXR0aW5ncyI6eyIkaWQiOiIzNzIiLCJGb250U2l6ZSI6MTAsIkZvbnROYW1lIjoiQ2FsaWJyaSIsIklzQm9sZCI6dHJ1ZSwiSXNJdGFsaWMiOmZhbHNlLCJJc1VuZGVybGluZWQiOmZhbHNlLCJQYXJlbnRTdHlsZSI6eyIkcmVmIjoiMTA4In19LCJBdXRvU2l6ZSI6MCwiRm9yZWdyb3VuZCI6eyIkaWQiOiIzNzMiLCJDb2xvciI6eyIkaWQiOiIzNzQiLCJBIjoyNTUsIlIiOjcyLCJHIjoxNTQsIkIiOjk3fX0sIk1heFdpZHRoIjo1MS40OTgwMzE2MTYyMTA5MzgsIk1heEhlaWdodCI6IkluZmluaXR5IiwiU21hcnRGb3JlZ3JvdW5kSXNBY3RpdmUiOmZhbHNlLCJIb3Jpem9udGFsQWxpZ25tZW50IjoyLCJWZXJ0aWNhbEFsaWdubWVudCI6MCwiU21hcnRGb3JlZ3JvdW5kIjpudWxsLCJNYXJnaW4iOnsiJHJlZiI6IjExMSJ9LCJQYWRkaW5nIjp7IiRyZWYiOiIxMTIifSwiQmFja2dyb3VuZCI6eyIkcmVmIjoiMTEzIn0sIklzVmlzaWJsZSI6dHJ1ZSwiV2lkdGgiOjAuMCwiSGVpZ2h0IjowLjAsIkJvcmRlclN0eWxlIjp7IiRpZCI6IjM3NSIsIkxpbmVDb2xvciI6bnVsbCwiTGluZVdlaWdodCI6MC4wLCJMaW5lVHlwZSI6MCwiUGFyZW50U3R5bGUiOm51bGx9LCJQYXJlbnRTdHlsZSI6eyIkcmVmIjoiMTA3In19LCJEYXRlU3R5bGUiOnsiJGlkIjoiMzc2IiwiRm9udFNldHRpbmdzIjp7IiRpZCI6IjM3NyIsIkZvbnRTaXplIjoxMCwiRm9udE5hbWUiOiJDYWxpYnJpIiwiSXNCb2xkIjpmYWxzZSwiSXNJdGFsaWMiOmZhbHNlLCJJc1VuZGVybGluZWQiOmZhbHNlLCJQYXJlbnRTdHlsZSI6eyIkcmVmIjoiMTE1In19LCJBdXRvU2l6ZSI6MCwiRm9yZWdyb3VuZCI6eyIkaWQiOiIzNzgiLCJDb2xvciI6eyIkaWQiOiIzNzkiLCJBIjoyNTUsIlIiOjEyNywiRyI6MTI3LCJCIjoxMjd9fSwiTWF4V2lkdGgiOjIwMC4wLCJNYXhIZWlnaHQiOiJJbmZpbml0eSIsIlNtYXJ0Rm9yZWdyb3VuZElzQWN0aXZlIjpmYWxzZSwiSG9yaXpvbnRhbEFsaWdubWVudCI6MCwiVmVydGljYWxBbGlnbm1lbnQiOjAsIlNtYXJ0Rm9yZWdyb3VuZCI6bnVsbCwiTWFyZ2luIjp7IiRyZWYiOiIxMTgifSwiUGFkZGluZyI6eyIkcmVmIjoiMTE5In0sIkJhY2tncm91bmQiOnsiJHJlZiI6IjEyMCJ9LCJJc1Zpc2libGUiOnRydWUsIldpZHRoIjowLjAsIkhlaWdodCI6MC4wLCJCb3JkZXJTdHlsZSI6eyIkaWQiOiIzODAiLCJMaW5lQ29sb3IiOm51bGwsIkxpbmVXZWlnaHQiOjAuMCwiTGluZVR5cGUiOjAsIlBhcmVudFN0eWxlIjpudWxsfSwiUGFyZW50U3R5bGUiOnsiJHJlZiI6IjExNCJ9fSwiRGF0ZUZvcm1hdCI6eyIkaWQiOiIzODEiLCJGb3JtYXRTdHJpbmciOiJNTU0gZCIsIlNlcGFyYXRvciI6Ii8iLCJVc2VJbnRlcm5hdGlvbmFsRGF0ZUZvcm1hdCI6ZmFsc2V9LCJJc1Zpc2libGUiOnRydWUsIlBhcmVudFN0eWxlIjp7IiRyZWYiOiI4MCJ9fSwiSW5kZXgiOjAsIklkIjoiMDZhNmEyMDAtMjFlYS00YWNkLWFjMjAtYjQxZjdiMzdiMGRkIiwiVGl0bGUiOiJUYXNrIDQgSGVyZSIsIk5vdGUiOm51bGwsIkh5cGVybGluayI6bnVsbCwiSXNDaGFuZ2VkIjpmYWxzZSwiSXNOZXciOnRydWV9LHsiJGlkIjoiMzgyIiwiR3JvdXBOYW1lIjpudWxsLCJTdGFydERhdGUiOiIyMDE1LTEwLTA0VDAwOjAwOjAwWiIsIkVuZERhdGUiOiIyMDE1LTExLTA3VDIzOjU5OjU5WiIsIlBlcmNlbnRhZ2VDb21wbGV0ZSI6bnVsbCwiU3R5bGUiOnsiJGlkIjoiMzgzIiwiU2hhcGUiOjIsIlNoYXBlVGhpY2tuZXNzIjoxLCJEdXJhdGlvbkZvcm1hdCI6MCwiSW5jbHVkZU5vbldvcmtpbmdEYXlzSW5EdXJhdGlvbiI6ZmFsc2UsIlBlcmNlbnRhZ2VDb21wbGV0ZVN0eWxlIjp7IiRpZCI6IjM4NCIsIkZvbnRTZXR0aW5ncyI6eyIkaWQiOiIzODUiLCJGb250U2l6ZSI6MTAsIkZvbnROYW1lIjoiQ2FsaWJyaSIsIklzQm9sZCI6ZmFsc2UsIklzSXRhbGljIjpmYWxzZSwiSXNVbmRlcmxpbmVkIjpmYWxzZSwiUGFyZW50U3R5bGUiOnsiJHJlZiI6IjgyIn19LCJBdXRvU2l6ZSI6MCwiRm9yZWdyb3VuZCI6eyIkcmVmIjoiODMifSwiTWF4V2lkdGgiOjIwMC4wLCJNYXhIZWlnaHQiOiJJbmZpbml0eSIsIlNtYXJ0Rm9yZWdyb3VuZElzQWN0aXZlIjpmYWxzZSwiSG9yaXpvbnRhbEFsaWdubWVudCI6MCwiVmVydGljYWxBbGlnbm1lbnQiOjAsIlNtYXJ0Rm9yZWdyb3VuZCI6bnVsbCwiTWFyZ2luIjp7IiRyZWYiOiI4NSJ9LCJQYWRkaW5nIjp7IiRyZWYiOiI4NiJ9LCJCYWNrZ3JvdW5kIjp7IiRyZWYiOiI4NyJ9LCJJc1Zpc2libGUiOnRydWUsIldpZHRoIjowLjAsIkhlaWdodCI6MC4wLCJCb3JkZXJTdHlsZSI6eyIkaWQiOiIzODYiLCJMaW5lQ29sb3IiOm51bGwsIkxpbmVXZWlnaHQiOjAuMCwiTGluZVR5cGUiOjAsIlBhcmVudFN0eWxlIjpudWxsfSwiUGFyZW50U3R5bGUiOnsiJHJlZiI6IjgxIn19LCJEdXJhdGlvblN0eWxlIjp7IiRpZCI6IjM4NyIsIkZvbnRTZXR0aW5ncyI6eyIkaWQiOiIzODgiLCJGb250U2l6ZSI6MTAsIkZvbnROYW1lIjoiQ2FsaWJyaSIsIklzQm9sZCI6ZmFsc2UsIklzSXRhbGljIjpmYWxzZSwiSXNVbmRlcmxpbmVkIjpmYWxzZSwiUGFyZW50U3R5bGUiOnsiJHJlZiI6Ijg5In19LCJBdXRvU2l6ZSI6MCwiRm9yZWdyb3VuZCI6eyIkaWQiOiIzODkiLCJDb2xvciI6eyIkaWQiOiIzOTAiLCJBIjoyNTUsIlIiOjE5MiwiRyI6ODAsIkIiOjc3fX0sIk1heFdpZHRoIjoyMDAuMCwiTWF4SGVpZ2h0IjoiSW5maW5pdHkiLCJTbWFydEZvcmVncm91bmRJc0FjdGl2ZSI6ZmFsc2UsIkhvcml6b250YWxBbGlnbm1lbnQiOjAsIlZlcnRpY2FsQWxpZ25tZW50IjowLCJTbWFydEZvcmVncm91bmQiOm51bGwsIk1hcmdpbiI6eyIkcmVmIjoiOTIifSwiUGFkZGluZyI6eyIkcmVmIjoiOTMifSwiQmFja2dyb3VuZCI6eyIkcmVmIjoiOTQifSwiSXNWaXNpYmxlIjp0cnVlLCJXaWR0aCI6MC4wLCJIZWlnaHQiOjAuMCwiQm9yZGVyU3R5bGUiOnsiJGlkIjoiMzkxIiwiTGluZUNvbG9yIjpudWxsLCJMaW5lV2VpZ2h0IjowLjAsIkxpbmVUeXBlIjowLCJQYXJlbnRTdHlsZSI6bnVsbH0sIlBhcmVudFN0eWxlIjp7IiRyZWYiOiI4OCJ9fSwiSG9yaXpvbnRhbENvbm5lY3RvclN0eWxlIjp7IiRpZCI6IjM5MiIsIkxpbmVDb2xvciI6eyIkcmVmIjoiOTYifSwiTGluZVdlaWdodCI6MC4wLCJMaW5lVHlwZSI6MCwiUGFyZW50U3R5bGUiOnsiJHJlZiI6Ijk1In19LCJWZXJ0aWNhbENvbm5lY3RvclN0eWxlIjp7IiRpZCI6IjM5MyIsIkxpbmVDb2xvciI6eyIkcmVmIjoiOTkifSwiTGluZVdlaWdodCI6MC4wLCJMaW5lVHlwZSI6MCwiUGFyZW50U3R5bGUiOnsiJHJlZiI6Ijk4In19LCJNYXJnaW4iOm51bGwsIlN0YXJ0RGF0ZVBvc2l0aW9uIjo0LCJFbmREYXRlUG9zaXRpb24iOjQsIlRpdGxlUG9zaXRpb24iOjMsIkR1cmF0aW9uUG9zaXRpb24iOjYsIlBlcmNlbnRhZ2VDb21wbGV0ZWRQb3NpdGlvbiI6NiwiU3BhY2luZyI6NSwiSXNCZWxvd1RpbWViYW5kIjp0cnVlLCJQZXJjZW50YWdlQ29tcGxldGVTaGFwZU9wYWNpdHkiOjM1LCJTaGFwZVN0eWxlIjp7IiRpZCI6IjM5NCIsIk1hcmdpbiI6eyIkcmVmIjoiMTAyIn0sIlBhZGRpbmciOnsiJHJlZiI6IjEwMyJ9LCJCYWNrZ3JvdW5kIjp7IiRpZCI6IjM5NSIsIkNvbG9yIjp7IiRpZCI6IjM5NiIsIkEiOjI1NSwiUiI6OTgsIkciOjE4MSwiQiI6MTIzfX0sIklzVmlzaWJsZSI6dHJ1ZSwiV2lkdGgiOjAuMCwiSGVpZ2h0IjoxNi4wLCJCb3JkZXJTdHlsZSI6eyIkaWQiOiIzOTciLCJMaW5lQ29sb3IiOnsiJGlkIjoiMzk4IiwiJHR5cGUiOiJOTFJFLkNvbW1vbi5Eb20uU29saWRDb2xvckJydXNoLCBOTFJFLkNvbW1vbiIsIkNvbG9yIjp7IiRpZCI6IjM5OSIsIkEiOjI1NSwiUiI6MjU1LCJHIjowLCJCIjowfX0sIkxpbmVXZWlnaHQiOjAuMCwiTGluZVR5cGUiOjAsIlBhcmVudFN0eWxlIjpudWxsfSwiUGFyZW50U3R5bGUiOnsiJHJlZiI6IjEwMSJ9fSwiVGl0bGVTdHlsZSI6eyIkaWQiOiI0MDAiLCJGb250U2V0dGluZ3MiOnsiJGlkIjoiNDAxIiwiRm9udFNpemUiOjEwLCJGb250TmFtZSI6IkNhbGlicmkiLCJJc0JvbGQiOnRydWUsIklzSXRhbGljIjpmYWxzZSwiSXNVbmRlcmxpbmVkIjpmYWxzZSwiUGFyZW50U3R5bGUiOnsiJHJlZiI6IjEwOCJ9fSwiQXV0b1NpemUiOjAsIkZvcmVncm91bmQiOnsiJGlkIjoiNDAyIiwiQ29sb3IiOnsiJGlkIjoiNDAzIiwiQSI6MjU1LCJSIjo3MiwiRyI6MTU0LCJCIjo5N319LCJNYXhXaWR0aCI6NTEuMTE5NDQ5NjE1NDc4NTE2LCJNYXhIZWlnaHQiOiJJbmZpbml0eSIsIlNtYXJ0Rm9yZWdyb3VuZElzQWN0aXZlIjpmYWxzZSwiSG9yaXpvbnRhbEFsaWdubWVudCI6MiwiVmVydGljYWxBbGlnbm1lbnQiOjAsIlNtYXJ0Rm9yZWdyb3VuZCI6bnVsbCwiTWFyZ2luIjp7IiRyZWYiOiIxMTEifSwiUGFkZGluZyI6eyIkcmVmIjoiMTEyIn0sIkJhY2tncm91bmQiOnsiJHJlZiI6IjExMyJ9LCJJc1Zpc2libGUiOnRydWUsIldpZHRoIjowLjAsIkhlaWdodCI6MC4wLCJCb3JkZXJTdHlsZSI6eyIkaWQiOiI0MDQiLCJMaW5lQ29sb3IiOm51bGwsIkxpbmVXZWlnaHQiOjAuMCwiTGluZVR5cGUiOjAsIlBhcmVudFN0eWxlIjpudWxsfSwiUGFyZW50U3R5bGUiOnsiJHJlZiI6IjEwNyJ9fSwiRGF0ZVN0eWxlIjp7IiRpZCI6IjQwNSIsIkZvbnRTZXR0aW5ncyI6eyIkaWQiOiI0MDYiLCJGb250U2l6ZSI6MTAsIkZvbnROYW1lIjoiQ2FsaWJyaSIsIklzQm9sZCI6ZmFsc2UsIklzSXRhbGljIjpmYWxzZSwiSXNVbmRlcmxpbmVkIjpmYWxzZSwiUGFyZW50U3R5bGUiOnsiJHJlZiI6IjExNSJ9fSwiQXV0b1NpemUiOjAsIkZvcmVncm91bmQiOnsiJGlkIjoiNDA3IiwiQ29sb3IiOnsiJGlkIjoiNDA4IiwiQSI6MjU1LCJSIjoxMjcsIkciOjEyNywiQiI6MTI3fX0sIk1heFdpZHRoIjoyMDAuMCwiTWF4SGVpZ2h0IjoiSW5maW5pdHkiLCJTbWFydEZvcmVncm91bmRJc0FjdGl2ZSI6ZmFsc2UsIkhvcml6b250YWxBbGlnbm1lbnQiOjAsIlZlcnRpY2FsQWxpZ25tZW50IjowLCJTbWFydEZvcmVncm91bmQiOm51bGwsIk1hcmdpbiI6eyIkcmVmIjoiMTE4In0sIlBhZGRpbmciOnsiJHJlZiI6IjExOSJ9LCJCYWNrZ3JvdW5kIjp7IiRyZWYiOiIxMjAifSwiSXNWaXNpYmxlIjp0cnVlLCJXaWR0aCI6MC4wLCJIZWlnaHQiOjAuMCwiQm9yZGVyU3R5bGUiOnsiJGlkIjoiNDA5IiwiTGluZUNvbG9yIjpudWxsLCJMaW5lV2VpZ2h0IjowLjAsIkxpbmVUeXBlIjowLCJQYXJlbnRTdHlsZSI6bnVsbH0sIlBhcmVudFN0eWxlIjp7IiRyZWYiOiIxMTQifX0sIkRhdGVGb3JtYXQiOnsiJGlkIjoiNDEwIiwiRm9ybWF0U3RyaW5nIjoiTU1NIGQiLCJTZXBhcmF0b3IiOiIvIiwiVXNlSW50ZXJuYXRpb25hbERhdGVGb3JtYXQiOmZhbHNlfSwiSXNWaXNpYmxlIjp0cnVlLCJQYXJlbnRTdHlsZSI6eyIkcmVmIjoiODAifX0sIkluZGV4IjowLCJJZCI6ImU2ZjVjOTE4LWJkZDYtNDlhMS1hYzkxLTljZjIyNDY4YTIzYiIsIlRpdGxlIjoiVGFzayA1IEhlcmUiLCJOb3RlIjpudWxsLCJIeXBlcmxpbmsiOm51bGwsIklzQ2hhbmdlZCI6ZmFsc2UsIklzTmV3Ijp0cnVlfV0sIlNldHRpbmdzIjp7IiRpZCI6IjQxMSIsIkltcGFPcHRpb25zIjpudWxsLCJVc2VDb21wcmVzc2lvbiI6ZmFsc2UsIkNvbXByZXNpb25QZXJjZW50YWdlIjo1MC4wLCJJbmFjdGl2ZUludGVydmFsV2lkdGhUaHJlc2hvbGQiOjMwLjAsIkluYWN0aXZlSW50ZXJ2YWxXaWR0aCI6MS4wLCJTcGxpdFRhc2tzIjpmYWxzZSwiVXNlQ2x1c3RlciI6ZmFsc2UsIkVwc2lsb24iOjAuMCwiTWluUG9pbnRzVG9Gb3JtQUNsdXN0ZXIiOjIsIkdlbmVyYXRlSW52aXNpYmxlU2hhcGVzIjp0cnVlLCJTbWFydFRpbWVsaW5lVGFza1BlcmNlbnRhZ2VGaXQiOmZhbHNlfSwiSXNOZXciOnRydWV9"/>
  <p:tag name="__MASTER" val="__part_0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MFfarl0SNhiq9s4SvP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TLMARKERSHAPE" val="OTL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XoyyQFk6ROBRwI9.Pl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pGejFOECc0CCfbFNJ9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MFfarl0SNhiq9s4SvP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XoyyQFk6ROBRwI9.Pl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pGejFOECc0CCfbFNJ9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MFfarl0SNhiq9s4SvP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XoyyQFk6ROBRwI9.Pl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Rnh8md2102_x1DZVUkXx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azXoyyQFk6ROBRwI9.P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pGejFOECc0CCfbFNJ9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KpGejFOECc0CCfbFNJ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c24FZqFtUWSjnyn21.un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pXX8FrQIE6NP2xhy7sAp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rT58Q_ruEyJMXah4bw0I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ZRMFfarl0SNhiq9s4SvP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KjnSz6Hkq6shz6h.rQ5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OKŁADKA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1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2_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32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1_OKŁADKA TYŁ">
  <a:themeElements>
    <a:clrScheme name="GPW - blue">
      <a:dk1>
        <a:sysClr val="windowText" lastClr="000000"/>
      </a:dk1>
      <a:lt1>
        <a:srgbClr val="FFFFFF"/>
      </a:lt1>
      <a:dk2>
        <a:srgbClr val="44546A"/>
      </a:dk2>
      <a:lt2>
        <a:srgbClr val="E7E6E6"/>
      </a:lt2>
      <a:accent1>
        <a:srgbClr val="004F92"/>
      </a:accent1>
      <a:accent2>
        <a:srgbClr val="0090D5"/>
      </a:accent2>
      <a:accent3>
        <a:srgbClr val="2E75B5"/>
      </a:accent3>
      <a:accent4>
        <a:srgbClr val="9CC3E5"/>
      </a:accent4>
      <a:accent5>
        <a:srgbClr val="BDD7EE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4.xml><?xml version="1.0" encoding="utf-8"?>
<a:theme xmlns:a="http://schemas.openxmlformats.org/drawingml/2006/main" name="33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27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64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85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28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9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30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Spis treści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5BC8FF"/>
      </a:accent3>
      <a:accent4>
        <a:srgbClr val="8FAADC"/>
      </a:accent4>
      <a:accent5>
        <a:srgbClr val="B4C7E7"/>
      </a:accent5>
      <a:accent6>
        <a:srgbClr val="DEEBF6"/>
      </a:accent6>
      <a:hlink>
        <a:srgbClr val="000000"/>
      </a:hlink>
      <a:folHlink>
        <a:srgbClr val="00000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31_Projekt niestandardowy">
  <a:themeElements>
    <a:clrScheme name="GPW - blue">
      <a:dk1>
        <a:srgbClr val="000000"/>
      </a:dk1>
      <a:lt1>
        <a:srgbClr val="FFFFFF"/>
      </a:lt1>
      <a:dk2>
        <a:srgbClr val="000000"/>
      </a:dk2>
      <a:lt2>
        <a:srgbClr val="FFFFFF"/>
      </a:lt2>
      <a:accent1>
        <a:srgbClr val="004F92"/>
      </a:accent1>
      <a:accent2>
        <a:srgbClr val="0090D5"/>
      </a:accent2>
      <a:accent3>
        <a:srgbClr val="006496"/>
      </a:accent3>
      <a:accent4>
        <a:srgbClr val="4870AF"/>
      </a:accent4>
      <a:accent5>
        <a:srgbClr val="4CC5FF"/>
      </a:accent5>
      <a:accent6>
        <a:srgbClr val="DEEBF6"/>
      </a:accent6>
      <a:hlink>
        <a:srgbClr val="000000"/>
      </a:hlink>
      <a:folHlink>
        <a:srgbClr val="000000"/>
      </a:folHlink>
    </a:clrScheme>
    <a:fontScheme name="GPW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Pakiet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153</TotalTime>
  <Words>1218</Words>
  <Application>Microsoft Macintosh PowerPoint</Application>
  <PresentationFormat>Niestandardowy</PresentationFormat>
  <Paragraphs>190</Paragraphs>
  <Slides>16</Slides>
  <Notes>0</Notes>
  <HiddenSlides>0</HiddenSlides>
  <MMClips>0</MMClips>
  <ScaleCrop>false</ScaleCrop>
  <HeadingPairs>
    <vt:vector size="6" baseType="variant">
      <vt:variant>
        <vt:lpstr>Motyw</vt:lpstr>
      </vt:variant>
      <vt:variant>
        <vt:i4>14</vt:i4>
      </vt:variant>
      <vt:variant>
        <vt:lpstr>Osadzone serwery OLE</vt:lpstr>
      </vt:variant>
      <vt:variant>
        <vt:i4>2</vt:i4>
      </vt:variant>
      <vt:variant>
        <vt:lpstr>Tytuły slajdów</vt:lpstr>
      </vt:variant>
      <vt:variant>
        <vt:i4>16</vt:i4>
      </vt:variant>
    </vt:vector>
  </HeadingPairs>
  <TitlesOfParts>
    <vt:vector size="32" baseType="lpstr">
      <vt:lpstr>1_OKŁADKA</vt:lpstr>
      <vt:lpstr>27_Projekt niestandardowy</vt:lpstr>
      <vt:lpstr>64_Projekt niestandardowy</vt:lpstr>
      <vt:lpstr>85_Projekt niestandardowy</vt:lpstr>
      <vt:lpstr>28_Projekt niestandardowy</vt:lpstr>
      <vt:lpstr>29_Projekt niestandardowy</vt:lpstr>
      <vt:lpstr>30_Projekt niestandardowy</vt:lpstr>
      <vt:lpstr>Spis treści</vt:lpstr>
      <vt:lpstr>31_Projekt niestandardowy</vt:lpstr>
      <vt:lpstr>1_Spis treści</vt:lpstr>
      <vt:lpstr>2_Spis treści</vt:lpstr>
      <vt:lpstr>32_Projekt niestandardowy</vt:lpstr>
      <vt:lpstr>1_OKŁADKA TYŁ</vt:lpstr>
      <vt:lpstr>33_Projekt niestandardowy</vt:lpstr>
      <vt:lpstr>think-cell Slide</vt:lpstr>
      <vt:lpstr>Chart</vt:lpstr>
      <vt:lpstr>Prezentacja programu PowerPoint</vt:lpstr>
      <vt:lpstr>Prezentacja programu PowerPoint</vt:lpstr>
      <vt:lpstr>Rynek gazu w Polsce Rekordowy wolumen na rynku spot w 2015 r.</vt:lpstr>
      <vt:lpstr>Deregulacja zawodu maklera giełdowego</vt:lpstr>
      <vt:lpstr>Prezentacja programu PowerPoint</vt:lpstr>
      <vt:lpstr>Kto może być uczestnikiem obrotu na rynkach gazu TGE</vt:lpstr>
      <vt:lpstr>Prezentacja rynków TGE </vt:lpstr>
      <vt:lpstr>Gaz ziemny: giełda czy inne platformy?</vt:lpstr>
      <vt:lpstr>Gaz ziemny: giełda czy inne platformy?</vt:lpstr>
      <vt:lpstr> Dlaczego jeszcze TGE?</vt:lpstr>
      <vt:lpstr> Dlaczego jeszcze TGE?</vt:lpstr>
      <vt:lpstr>Prezentacja programu PowerPoint</vt:lpstr>
      <vt:lpstr> Hub gazowy w Polsce Warunki niezbędne do uruchomienia</vt:lpstr>
      <vt:lpstr>Punkty wirtualne – zmiany w IRiESP</vt:lpstr>
      <vt:lpstr>Obrót gazem ziemnym na platformie brokerskiej InfoEngine</vt:lpstr>
      <vt:lpstr>Prezentacja programu PowerPoint</vt:lpstr>
    </vt:vector>
  </TitlesOfParts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ja programu PowerPoint</dc:title>
  <dc:creator>Sikora Ewa</dc:creator>
  <cp:lastModifiedBy>Beata Wittmann</cp:lastModifiedBy>
  <cp:revision>78</cp:revision>
  <cp:lastPrinted>2016-02-18T15:53:12Z</cp:lastPrinted>
  <dcterms:created xsi:type="dcterms:W3CDTF">2010-04-12T23:12:02Z</dcterms:created>
  <dcterms:modified xsi:type="dcterms:W3CDTF">2016-05-15T15:00:2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DE64AEEDD9B7A4D93545ACBE97D4615</vt:lpwstr>
  </property>
  <property fmtid="{D5CDD505-2E9C-101B-9397-08002B2CF9AE}" pid="3" name="_Version">
    <vt:lpwstr/>
  </property>
  <property fmtid="{D5CDD505-2E9C-101B-9397-08002B2CF9AE}" pid="4" name="_Status">
    <vt:lpwstr>Not Started</vt:lpwstr>
  </property>
</Properties>
</file>